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2" r:id="rId1"/>
  </p:sldMasterIdLst>
  <p:notesMasterIdLst>
    <p:notesMasterId r:id="rId13"/>
  </p:notesMasterIdLst>
  <p:handoutMasterIdLst>
    <p:handoutMasterId r:id="rId14"/>
  </p:handoutMasterIdLst>
  <p:sldIdLst>
    <p:sldId id="359" r:id="rId2"/>
    <p:sldId id="543" r:id="rId3"/>
    <p:sldId id="538" r:id="rId4"/>
    <p:sldId id="540" r:id="rId5"/>
    <p:sldId id="541" r:id="rId6"/>
    <p:sldId id="550" r:id="rId7"/>
    <p:sldId id="546" r:id="rId8"/>
    <p:sldId id="547" r:id="rId9"/>
    <p:sldId id="548" r:id="rId10"/>
    <p:sldId id="549" r:id="rId11"/>
    <p:sldId id="539" r:id="rId12"/>
  </p:sldIdLst>
  <p:sldSz cx="12192000" cy="6858000"/>
  <p:notesSz cx="6805613" cy="99441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255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pos="547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790"/>
    <a:srgbClr val="C30C3E"/>
    <a:srgbClr val="FFFFCC"/>
    <a:srgbClr val="66CCFF"/>
    <a:srgbClr val="EBEFF5"/>
    <a:srgbClr val="9DB1CF"/>
    <a:srgbClr val="4C6C9C"/>
    <a:srgbClr val="6F8DB9"/>
    <a:srgbClr val="BFCCDF"/>
    <a:srgbClr val="4A9B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83" autoAdjust="0"/>
    <p:restoredTop sz="95232" autoAdjust="0"/>
  </p:normalViewPr>
  <p:slideViewPr>
    <p:cSldViewPr>
      <p:cViewPr varScale="1">
        <p:scale>
          <a:sx n="85" d="100"/>
          <a:sy n="85" d="100"/>
        </p:scale>
        <p:origin x="691" y="53"/>
      </p:cViewPr>
      <p:guideLst>
        <p:guide orient="horz" pos="346"/>
        <p:guide orient="horz" pos="1525"/>
        <p:guide orient="horz" pos="210"/>
        <p:guide pos="982"/>
        <p:guide orient="horz" pos="255"/>
        <p:guide orient="horz" pos="391"/>
        <p:guide pos="5473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DC7E50E-8DA1-448E-B81D-2287929D82C0}" type="doc">
      <dgm:prSet loTypeId="urn:microsoft.com/office/officeart/2009/3/layout/HorizontalOrganizationChart" loCatId="hierarchy" qsTypeId="urn:microsoft.com/office/officeart/2005/8/quickstyle/3d3" qsCatId="3D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6DB1CAEF-C6E7-4A95-82ED-550B9AD87FC9}">
      <dgm:prSet phldrT="[Текст]" custT="1"/>
      <dgm:spPr>
        <a:xfrm>
          <a:off x="3856" y="1575726"/>
          <a:ext cx="2856632" cy="871272"/>
        </a:xfrm>
        <a:prstGeom prst="rect">
          <a:avLst/>
        </a:prstGeom>
      </dgm:spPr>
      <dgm:t>
        <a:bodyPr/>
        <a:lstStyle/>
        <a:p>
          <a:r>
            <a:rPr lang="ru-RU" sz="28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РУМО</a:t>
          </a:r>
          <a:endParaRPr lang="ru-RU" sz="28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gm:t>
    </dgm:pt>
    <dgm:pt modelId="{03F23A0E-7CDA-4FEE-9CDD-3EFCB954FF1B}" type="parTrans" cxnId="{A84666F1-8B04-4477-AD79-3C5F609182E6}">
      <dgm:prSet/>
      <dgm:spPr/>
      <dgm:t>
        <a:bodyPr/>
        <a:lstStyle/>
        <a:p>
          <a:endParaRPr lang="ru-RU"/>
        </a:p>
      </dgm:t>
    </dgm:pt>
    <dgm:pt modelId="{E3DFF0DA-D6E8-4838-AECE-3F58AF0BC266}" type="sibTrans" cxnId="{A84666F1-8B04-4477-AD79-3C5F609182E6}">
      <dgm:prSet/>
      <dgm:spPr/>
      <dgm:t>
        <a:bodyPr/>
        <a:lstStyle/>
        <a:p>
          <a:endParaRPr lang="ru-RU"/>
        </a:p>
      </dgm:t>
    </dgm:pt>
    <dgm:pt modelId="{67335D3B-E713-4BF1-92B5-75C74DE006F0}" type="asst">
      <dgm:prSet phldrT="[Текст]" custT="1"/>
      <dgm:spPr>
        <a:xfrm>
          <a:off x="3431814" y="961550"/>
          <a:ext cx="2856632" cy="871272"/>
        </a:xfrm>
        <a:prstGeom prst="rect">
          <a:avLst/>
        </a:prstGeom>
      </dgm:spPr>
      <dgm:t>
        <a:bodyPr/>
        <a:lstStyle/>
        <a:p>
          <a:r>
            <a:rPr lang="ru-RU" sz="28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ЦНППМПР</a:t>
          </a:r>
          <a:endParaRPr lang="ru-RU" sz="28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gm:t>
    </dgm:pt>
    <dgm:pt modelId="{536224BF-2788-4BAA-82AD-CF711C420D83}" type="parTrans" cxnId="{15365809-2FB8-4FB1-8F17-B7AE8D62D7D9}">
      <dgm:prSet/>
      <dgm:spPr>
        <a:xfrm>
          <a:off x="2860488" y="1832822"/>
          <a:ext cx="1999642" cy="178539"/>
        </a:xfrm>
        <a:custGeom>
          <a:avLst/>
          <a:gdLst/>
          <a:ahLst/>
          <a:cxnLst/>
          <a:rect l="0" t="0" r="0" b="0"/>
          <a:pathLst>
            <a:path>
              <a:moveTo>
                <a:pt x="0" y="178539"/>
              </a:moveTo>
              <a:lnTo>
                <a:pt x="1999642" y="178539"/>
              </a:lnTo>
              <a:lnTo>
                <a:pt x="1999642" y="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EB5074C4-ED8B-4828-861A-F074D7D15674}" type="sibTrans" cxnId="{15365809-2FB8-4FB1-8F17-B7AE8D62D7D9}">
      <dgm:prSet/>
      <dgm:spPr/>
      <dgm:t>
        <a:bodyPr/>
        <a:lstStyle/>
        <a:p>
          <a:endParaRPr lang="ru-RU"/>
        </a:p>
      </dgm:t>
    </dgm:pt>
    <dgm:pt modelId="{0AE781FB-6BB2-4DD9-A404-8791AFEDA3A7}">
      <dgm:prSet phldrT="[Текст]" custT="1"/>
      <dgm:spPr>
        <a:xfrm>
          <a:off x="6859773" y="347374"/>
          <a:ext cx="2856632" cy="871272"/>
        </a:xfrm>
        <a:prstGeom prst="rect">
          <a:avLst/>
        </a:prstGeom>
      </dgm:spPr>
      <dgm:t>
        <a:bodyPr/>
        <a:lstStyle/>
        <a:p>
          <a:r>
            <a:rPr lang="ru-RU" sz="2800" u="none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МунУМО</a:t>
          </a:r>
          <a:endParaRPr lang="ru-RU" sz="2800" u="none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gm:t>
    </dgm:pt>
    <dgm:pt modelId="{E453D558-3EE5-416D-9B2B-BB48CE3CA711}" type="parTrans" cxnId="{61E3FD40-5463-4E3E-8D95-A8C2A8AC8170}">
      <dgm:prSet/>
      <dgm:spPr>
        <a:xfrm>
          <a:off x="2860488" y="783010"/>
          <a:ext cx="3999285" cy="1228351"/>
        </a:xfrm>
        <a:custGeom>
          <a:avLst/>
          <a:gdLst/>
          <a:ahLst/>
          <a:cxnLst/>
          <a:rect l="0" t="0" r="0" b="0"/>
          <a:pathLst>
            <a:path>
              <a:moveTo>
                <a:pt x="0" y="1228351"/>
              </a:moveTo>
              <a:lnTo>
                <a:pt x="3713621" y="1228351"/>
              </a:lnTo>
              <a:lnTo>
                <a:pt x="3713621" y="0"/>
              </a:lnTo>
              <a:lnTo>
                <a:pt x="3999285" y="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DAB6E24C-6544-4D18-BF69-D775798E7E93}" type="sibTrans" cxnId="{61E3FD40-5463-4E3E-8D95-A8C2A8AC8170}">
      <dgm:prSet/>
      <dgm:spPr/>
      <dgm:t>
        <a:bodyPr/>
        <a:lstStyle/>
        <a:p>
          <a:endParaRPr lang="ru-RU"/>
        </a:p>
      </dgm:t>
    </dgm:pt>
    <dgm:pt modelId="{23FE4D63-4A9E-4049-AC60-C86B50E9CB2D}">
      <dgm:prSet phldrT="[Текст]" custT="1"/>
      <dgm:spPr>
        <a:xfrm>
          <a:off x="6859773" y="1575726"/>
          <a:ext cx="2856632" cy="871272"/>
        </a:xfrm>
        <a:prstGeom prst="rect">
          <a:avLst/>
        </a:prstGeom>
      </dgm:spPr>
      <dgm:t>
        <a:bodyPr/>
        <a:lstStyle/>
        <a:p>
          <a:r>
            <a:rPr lang="ru-RU" sz="28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НМС школы</a:t>
          </a:r>
          <a:endParaRPr lang="ru-RU" sz="28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gm:t>
    </dgm:pt>
    <dgm:pt modelId="{37DBD6C1-4349-40DE-AB20-6D0B8AAD8AAF}" type="parTrans" cxnId="{7BD879D1-DF04-42B2-9405-93382A3DD2FB}">
      <dgm:prSet/>
      <dgm:spPr>
        <a:xfrm>
          <a:off x="2860488" y="1965642"/>
          <a:ext cx="399928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999285" y="45720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D6E38D8B-1C2F-4343-9A62-5963A27F1400}" type="sibTrans" cxnId="{7BD879D1-DF04-42B2-9405-93382A3DD2FB}">
      <dgm:prSet/>
      <dgm:spPr/>
      <dgm:t>
        <a:bodyPr/>
        <a:lstStyle/>
        <a:p>
          <a:endParaRPr lang="ru-RU"/>
        </a:p>
      </dgm:t>
    </dgm:pt>
    <dgm:pt modelId="{69E958E0-B257-4F2C-BF98-6E59E1F4E456}">
      <dgm:prSet phldrT="[Текст]" custT="1"/>
      <dgm:spPr>
        <a:xfrm>
          <a:off x="6859773" y="2804077"/>
          <a:ext cx="2856632" cy="871272"/>
        </a:xfrm>
        <a:prstGeom prst="rect">
          <a:avLst/>
        </a:prstGeom>
      </dgm:spPr>
      <dgm:t>
        <a:bodyPr/>
        <a:lstStyle/>
        <a:p>
          <a:r>
            <a:rPr lang="ru-RU" sz="28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МПМО</a:t>
          </a:r>
          <a:endParaRPr lang="ru-RU" sz="28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gm:t>
    </dgm:pt>
    <dgm:pt modelId="{8601BB75-9A3E-4CD5-A35C-EC1B7287937E}" type="parTrans" cxnId="{CB4A3EDE-9DB1-48C6-BFA4-844F18CC4C4D}">
      <dgm:prSet/>
      <dgm:spPr>
        <a:xfrm>
          <a:off x="2860488" y="2011362"/>
          <a:ext cx="3999285" cy="12283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13621" y="0"/>
              </a:lnTo>
              <a:lnTo>
                <a:pt x="3713621" y="1228351"/>
              </a:lnTo>
              <a:lnTo>
                <a:pt x="3999285" y="1228351"/>
              </a:lnTo>
            </a:path>
          </a:pathLst>
        </a:custGeom>
      </dgm:spPr>
      <dgm:t>
        <a:bodyPr/>
        <a:lstStyle/>
        <a:p>
          <a:endParaRPr lang="ru-RU"/>
        </a:p>
      </dgm:t>
    </dgm:pt>
    <dgm:pt modelId="{6CBFFDED-F91C-4402-9828-72711D34B569}" type="sibTrans" cxnId="{CB4A3EDE-9DB1-48C6-BFA4-844F18CC4C4D}">
      <dgm:prSet/>
      <dgm:spPr/>
      <dgm:t>
        <a:bodyPr/>
        <a:lstStyle/>
        <a:p>
          <a:endParaRPr lang="ru-RU"/>
        </a:p>
      </dgm:t>
    </dgm:pt>
    <dgm:pt modelId="{20EC63F5-149E-4757-9253-2AE13A0311AA}" type="pres">
      <dgm:prSet presAssocID="{0DC7E50E-8DA1-448E-B81D-2287929D82C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8550D11-6070-469B-9A44-84736438A115}" type="pres">
      <dgm:prSet presAssocID="{6DB1CAEF-C6E7-4A95-82ED-550B9AD87FC9}" presName="hierRoot1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0FDF26F4-B513-4E03-A9E8-12ECC9CF8F58}" type="pres">
      <dgm:prSet presAssocID="{6DB1CAEF-C6E7-4A95-82ED-550B9AD87FC9}" presName="rootComposite1" presStyleCnt="0"/>
      <dgm:spPr/>
      <dgm:t>
        <a:bodyPr/>
        <a:lstStyle/>
        <a:p>
          <a:endParaRPr lang="ru-RU"/>
        </a:p>
      </dgm:t>
    </dgm:pt>
    <dgm:pt modelId="{08B5DDB6-9F3F-4F3B-964C-42D087A3CBE7}" type="pres">
      <dgm:prSet presAssocID="{6DB1CAEF-C6E7-4A95-82ED-550B9AD87FC9}" presName="rootText1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71568D3-322E-43CA-85A2-635DA2E6325A}" type="pres">
      <dgm:prSet presAssocID="{6DB1CAEF-C6E7-4A95-82ED-550B9AD87FC9}" presName="rootConnector1" presStyleLbl="node1" presStyleIdx="0" presStyleCnt="0"/>
      <dgm:spPr/>
      <dgm:t>
        <a:bodyPr/>
        <a:lstStyle/>
        <a:p>
          <a:endParaRPr lang="ru-RU"/>
        </a:p>
      </dgm:t>
    </dgm:pt>
    <dgm:pt modelId="{AD92AB05-48CE-4412-B26E-B212002C58F7}" type="pres">
      <dgm:prSet presAssocID="{6DB1CAEF-C6E7-4A95-82ED-550B9AD87FC9}" presName="hierChild2" presStyleCnt="0"/>
      <dgm:spPr/>
      <dgm:t>
        <a:bodyPr/>
        <a:lstStyle/>
        <a:p>
          <a:endParaRPr lang="ru-RU"/>
        </a:p>
      </dgm:t>
    </dgm:pt>
    <dgm:pt modelId="{D56EFD55-1063-4631-B825-E1A75433745C}" type="pres">
      <dgm:prSet presAssocID="{E453D558-3EE5-416D-9B2B-BB48CE3CA711}" presName="Name64" presStyleLbl="parChTrans1D2" presStyleIdx="0" presStyleCnt="4"/>
      <dgm:spPr/>
      <dgm:t>
        <a:bodyPr/>
        <a:lstStyle/>
        <a:p>
          <a:endParaRPr lang="ru-RU"/>
        </a:p>
      </dgm:t>
    </dgm:pt>
    <dgm:pt modelId="{696F5881-FFD4-48F9-B101-F9992887C08A}" type="pres">
      <dgm:prSet presAssocID="{0AE781FB-6BB2-4DD9-A404-8791AFEDA3A7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EF7B0A0C-0BF5-40F6-B1BE-47FC395C55C2}" type="pres">
      <dgm:prSet presAssocID="{0AE781FB-6BB2-4DD9-A404-8791AFEDA3A7}" presName="rootComposite" presStyleCnt="0"/>
      <dgm:spPr/>
      <dgm:t>
        <a:bodyPr/>
        <a:lstStyle/>
        <a:p>
          <a:endParaRPr lang="ru-RU"/>
        </a:p>
      </dgm:t>
    </dgm:pt>
    <dgm:pt modelId="{62FA4BBD-F8C8-471A-822E-6DD293B62FDD}" type="pres">
      <dgm:prSet presAssocID="{0AE781FB-6BB2-4DD9-A404-8791AFEDA3A7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31D7EF02-5F62-4333-B53F-BC52FC6579D3}" type="pres">
      <dgm:prSet presAssocID="{0AE781FB-6BB2-4DD9-A404-8791AFEDA3A7}" presName="rootConnector" presStyleLbl="node2" presStyleIdx="0" presStyleCnt="3"/>
      <dgm:spPr/>
      <dgm:t>
        <a:bodyPr/>
        <a:lstStyle/>
        <a:p>
          <a:endParaRPr lang="ru-RU"/>
        </a:p>
      </dgm:t>
    </dgm:pt>
    <dgm:pt modelId="{B828CBD0-9067-4492-9638-8DAF1496E37C}" type="pres">
      <dgm:prSet presAssocID="{0AE781FB-6BB2-4DD9-A404-8791AFEDA3A7}" presName="hierChild4" presStyleCnt="0"/>
      <dgm:spPr/>
      <dgm:t>
        <a:bodyPr/>
        <a:lstStyle/>
        <a:p>
          <a:endParaRPr lang="ru-RU"/>
        </a:p>
      </dgm:t>
    </dgm:pt>
    <dgm:pt modelId="{530C158C-5CA4-48C7-8314-47DCF015D7E5}" type="pres">
      <dgm:prSet presAssocID="{0AE781FB-6BB2-4DD9-A404-8791AFEDA3A7}" presName="hierChild5" presStyleCnt="0"/>
      <dgm:spPr/>
      <dgm:t>
        <a:bodyPr/>
        <a:lstStyle/>
        <a:p>
          <a:endParaRPr lang="ru-RU"/>
        </a:p>
      </dgm:t>
    </dgm:pt>
    <dgm:pt modelId="{261DE5B6-82F9-414B-8169-48B09B71A7FB}" type="pres">
      <dgm:prSet presAssocID="{37DBD6C1-4349-40DE-AB20-6D0B8AAD8AAF}" presName="Name64" presStyleLbl="parChTrans1D2" presStyleIdx="1" presStyleCnt="4"/>
      <dgm:spPr/>
      <dgm:t>
        <a:bodyPr/>
        <a:lstStyle/>
        <a:p>
          <a:endParaRPr lang="ru-RU"/>
        </a:p>
      </dgm:t>
    </dgm:pt>
    <dgm:pt modelId="{43F6D872-5D15-448F-9063-1DA0F2E2ED8C}" type="pres">
      <dgm:prSet presAssocID="{23FE4D63-4A9E-4049-AC60-C86B50E9CB2D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FD396FCD-3918-484D-ADD8-AA6FC06740CF}" type="pres">
      <dgm:prSet presAssocID="{23FE4D63-4A9E-4049-AC60-C86B50E9CB2D}" presName="rootComposite" presStyleCnt="0"/>
      <dgm:spPr/>
      <dgm:t>
        <a:bodyPr/>
        <a:lstStyle/>
        <a:p>
          <a:endParaRPr lang="ru-RU"/>
        </a:p>
      </dgm:t>
    </dgm:pt>
    <dgm:pt modelId="{FA5A6EC4-5F0C-4E79-8ECC-B6C1D673B194}" type="pres">
      <dgm:prSet presAssocID="{23FE4D63-4A9E-4049-AC60-C86B50E9CB2D}" presName="rootText" presStyleLbl="node2" presStyleIdx="1" presStyleCnt="3" custScaleX="10119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F6EB41A-3FE4-4870-8D75-276857D8AB2A}" type="pres">
      <dgm:prSet presAssocID="{23FE4D63-4A9E-4049-AC60-C86B50E9CB2D}" presName="rootConnector" presStyleLbl="node2" presStyleIdx="1" presStyleCnt="3"/>
      <dgm:spPr/>
      <dgm:t>
        <a:bodyPr/>
        <a:lstStyle/>
        <a:p>
          <a:endParaRPr lang="ru-RU"/>
        </a:p>
      </dgm:t>
    </dgm:pt>
    <dgm:pt modelId="{9481BBC4-1538-44A8-81B2-C7AC551EFF12}" type="pres">
      <dgm:prSet presAssocID="{23FE4D63-4A9E-4049-AC60-C86B50E9CB2D}" presName="hierChild4" presStyleCnt="0"/>
      <dgm:spPr/>
      <dgm:t>
        <a:bodyPr/>
        <a:lstStyle/>
        <a:p>
          <a:endParaRPr lang="ru-RU"/>
        </a:p>
      </dgm:t>
    </dgm:pt>
    <dgm:pt modelId="{A141B7AA-E1CC-4E58-B634-5D2597D2A998}" type="pres">
      <dgm:prSet presAssocID="{23FE4D63-4A9E-4049-AC60-C86B50E9CB2D}" presName="hierChild5" presStyleCnt="0"/>
      <dgm:spPr/>
      <dgm:t>
        <a:bodyPr/>
        <a:lstStyle/>
        <a:p>
          <a:endParaRPr lang="ru-RU"/>
        </a:p>
      </dgm:t>
    </dgm:pt>
    <dgm:pt modelId="{9C8C49AE-D067-46BA-BD52-E8E5353E4E59}" type="pres">
      <dgm:prSet presAssocID="{8601BB75-9A3E-4CD5-A35C-EC1B7287937E}" presName="Name64" presStyleLbl="parChTrans1D2" presStyleIdx="2" presStyleCnt="4"/>
      <dgm:spPr/>
      <dgm:t>
        <a:bodyPr/>
        <a:lstStyle/>
        <a:p>
          <a:endParaRPr lang="ru-RU"/>
        </a:p>
      </dgm:t>
    </dgm:pt>
    <dgm:pt modelId="{27DDA6F1-0805-45CB-A536-C9ACE4475D62}" type="pres">
      <dgm:prSet presAssocID="{69E958E0-B257-4F2C-BF98-6E59E1F4E456}" presName="hierRoot2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36257E19-0489-4613-87FF-4128D4D83444}" type="pres">
      <dgm:prSet presAssocID="{69E958E0-B257-4F2C-BF98-6E59E1F4E456}" presName="rootComposite" presStyleCnt="0"/>
      <dgm:spPr/>
      <dgm:t>
        <a:bodyPr/>
        <a:lstStyle/>
        <a:p>
          <a:endParaRPr lang="ru-RU"/>
        </a:p>
      </dgm:t>
    </dgm:pt>
    <dgm:pt modelId="{56608C78-8260-426A-8EB3-F22EE7F48117}" type="pres">
      <dgm:prSet presAssocID="{69E958E0-B257-4F2C-BF98-6E59E1F4E456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23FA863-41C1-4F49-9836-0A7237F95D10}" type="pres">
      <dgm:prSet presAssocID="{69E958E0-B257-4F2C-BF98-6E59E1F4E456}" presName="rootConnector" presStyleLbl="node2" presStyleIdx="2" presStyleCnt="3"/>
      <dgm:spPr/>
      <dgm:t>
        <a:bodyPr/>
        <a:lstStyle/>
        <a:p>
          <a:endParaRPr lang="ru-RU"/>
        </a:p>
      </dgm:t>
    </dgm:pt>
    <dgm:pt modelId="{BD5AB1B6-369B-49A5-AF1B-89B1241174FE}" type="pres">
      <dgm:prSet presAssocID="{69E958E0-B257-4F2C-BF98-6E59E1F4E456}" presName="hierChild4" presStyleCnt="0"/>
      <dgm:spPr/>
      <dgm:t>
        <a:bodyPr/>
        <a:lstStyle/>
        <a:p>
          <a:endParaRPr lang="ru-RU"/>
        </a:p>
      </dgm:t>
    </dgm:pt>
    <dgm:pt modelId="{FD3F6C83-7436-418E-B96F-D0471F0C3FBC}" type="pres">
      <dgm:prSet presAssocID="{69E958E0-B257-4F2C-BF98-6E59E1F4E456}" presName="hierChild5" presStyleCnt="0"/>
      <dgm:spPr/>
      <dgm:t>
        <a:bodyPr/>
        <a:lstStyle/>
        <a:p>
          <a:endParaRPr lang="ru-RU"/>
        </a:p>
      </dgm:t>
    </dgm:pt>
    <dgm:pt modelId="{9F6A4574-242A-4106-A18E-EA79523DD5ED}" type="pres">
      <dgm:prSet presAssocID="{6DB1CAEF-C6E7-4A95-82ED-550B9AD87FC9}" presName="hierChild3" presStyleCnt="0"/>
      <dgm:spPr/>
      <dgm:t>
        <a:bodyPr/>
        <a:lstStyle/>
        <a:p>
          <a:endParaRPr lang="ru-RU"/>
        </a:p>
      </dgm:t>
    </dgm:pt>
    <dgm:pt modelId="{E34715C7-E327-4415-B00A-AAFC3DF1094B}" type="pres">
      <dgm:prSet presAssocID="{536224BF-2788-4BAA-82AD-CF711C420D83}" presName="Name115" presStyleLbl="parChTrans1D2" presStyleIdx="3" presStyleCnt="4"/>
      <dgm:spPr/>
      <dgm:t>
        <a:bodyPr/>
        <a:lstStyle/>
        <a:p>
          <a:endParaRPr lang="ru-RU"/>
        </a:p>
      </dgm:t>
    </dgm:pt>
    <dgm:pt modelId="{B6873F58-82D5-4C32-8D70-714460014665}" type="pres">
      <dgm:prSet presAssocID="{67335D3B-E713-4BF1-92B5-75C74DE006F0}" presName="hierRoot3" presStyleCnt="0">
        <dgm:presLayoutVars>
          <dgm:hierBranch val="init"/>
        </dgm:presLayoutVars>
      </dgm:prSet>
      <dgm:spPr/>
      <dgm:t>
        <a:bodyPr/>
        <a:lstStyle/>
        <a:p>
          <a:endParaRPr lang="ru-RU"/>
        </a:p>
      </dgm:t>
    </dgm:pt>
    <dgm:pt modelId="{0E435286-FE98-4D52-A6EA-B14A85EE81C0}" type="pres">
      <dgm:prSet presAssocID="{67335D3B-E713-4BF1-92B5-75C74DE006F0}" presName="rootComposite3" presStyleCnt="0"/>
      <dgm:spPr/>
      <dgm:t>
        <a:bodyPr/>
        <a:lstStyle/>
        <a:p>
          <a:endParaRPr lang="ru-RU"/>
        </a:p>
      </dgm:t>
    </dgm:pt>
    <dgm:pt modelId="{54660D01-A6D9-40D9-8AC3-7AA0CFEECC5C}" type="pres">
      <dgm:prSet presAssocID="{67335D3B-E713-4BF1-92B5-75C74DE006F0}" presName="rootText3" presStyleLbl="asst1" presStyleIdx="0" presStyleCnt="1" custLinFactNeighborX="-1227" custLinFactNeighborY="49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0714C10-5A7D-47FC-B452-F2267863EFF2}" type="pres">
      <dgm:prSet presAssocID="{67335D3B-E713-4BF1-92B5-75C74DE006F0}" presName="rootConnector3" presStyleLbl="asst1" presStyleIdx="0" presStyleCnt="1"/>
      <dgm:spPr/>
      <dgm:t>
        <a:bodyPr/>
        <a:lstStyle/>
        <a:p>
          <a:endParaRPr lang="ru-RU"/>
        </a:p>
      </dgm:t>
    </dgm:pt>
    <dgm:pt modelId="{2331618B-D736-406F-AFF1-07E7E30119AF}" type="pres">
      <dgm:prSet presAssocID="{67335D3B-E713-4BF1-92B5-75C74DE006F0}" presName="hierChild6" presStyleCnt="0"/>
      <dgm:spPr/>
      <dgm:t>
        <a:bodyPr/>
        <a:lstStyle/>
        <a:p>
          <a:endParaRPr lang="ru-RU"/>
        </a:p>
      </dgm:t>
    </dgm:pt>
    <dgm:pt modelId="{F604E949-A41F-4741-8B3D-DDE33433BA76}" type="pres">
      <dgm:prSet presAssocID="{67335D3B-E713-4BF1-92B5-75C74DE006F0}" presName="hierChild7" presStyleCnt="0"/>
      <dgm:spPr/>
      <dgm:t>
        <a:bodyPr/>
        <a:lstStyle/>
        <a:p>
          <a:endParaRPr lang="ru-RU"/>
        </a:p>
      </dgm:t>
    </dgm:pt>
  </dgm:ptLst>
  <dgm:cxnLst>
    <dgm:cxn modelId="{629ECF41-2FF9-41FE-8AFB-30CBAC5462E9}" type="presOf" srcId="{0AE781FB-6BB2-4DD9-A404-8791AFEDA3A7}" destId="{31D7EF02-5F62-4333-B53F-BC52FC6579D3}" srcOrd="1" destOrd="0" presId="urn:microsoft.com/office/officeart/2009/3/layout/HorizontalOrganizationChart"/>
    <dgm:cxn modelId="{405B6F36-3594-4B58-B075-A4884032B672}" type="presOf" srcId="{37DBD6C1-4349-40DE-AB20-6D0B8AAD8AAF}" destId="{261DE5B6-82F9-414B-8169-48B09B71A7FB}" srcOrd="0" destOrd="0" presId="urn:microsoft.com/office/officeart/2009/3/layout/HorizontalOrganizationChart"/>
    <dgm:cxn modelId="{42A4BC6E-537E-432A-9F92-1C7944ED8277}" type="presOf" srcId="{536224BF-2788-4BAA-82AD-CF711C420D83}" destId="{E34715C7-E327-4415-B00A-AAFC3DF1094B}" srcOrd="0" destOrd="0" presId="urn:microsoft.com/office/officeart/2009/3/layout/HorizontalOrganizationChart"/>
    <dgm:cxn modelId="{A576DB41-2673-4649-A0E7-20153E52C83C}" type="presOf" srcId="{6DB1CAEF-C6E7-4A95-82ED-550B9AD87FC9}" destId="{08B5DDB6-9F3F-4F3B-964C-42D087A3CBE7}" srcOrd="0" destOrd="0" presId="urn:microsoft.com/office/officeart/2009/3/layout/HorizontalOrganizationChart"/>
    <dgm:cxn modelId="{A84666F1-8B04-4477-AD79-3C5F609182E6}" srcId="{0DC7E50E-8DA1-448E-B81D-2287929D82C0}" destId="{6DB1CAEF-C6E7-4A95-82ED-550B9AD87FC9}" srcOrd="0" destOrd="0" parTransId="{03F23A0E-7CDA-4FEE-9CDD-3EFCB954FF1B}" sibTransId="{E3DFF0DA-D6E8-4838-AECE-3F58AF0BC266}"/>
    <dgm:cxn modelId="{ECD8D6CB-000A-4811-9650-AE7DBFCA6F38}" type="presOf" srcId="{E453D558-3EE5-416D-9B2B-BB48CE3CA711}" destId="{D56EFD55-1063-4631-B825-E1A75433745C}" srcOrd="0" destOrd="0" presId="urn:microsoft.com/office/officeart/2009/3/layout/HorizontalOrganizationChart"/>
    <dgm:cxn modelId="{8CD9D659-E889-4A9F-856F-6C475782C5B8}" type="presOf" srcId="{67335D3B-E713-4BF1-92B5-75C74DE006F0}" destId="{54660D01-A6D9-40D9-8AC3-7AA0CFEECC5C}" srcOrd="0" destOrd="0" presId="urn:microsoft.com/office/officeart/2009/3/layout/HorizontalOrganizationChart"/>
    <dgm:cxn modelId="{5887B869-A222-425F-9344-952540001BEA}" type="presOf" srcId="{23FE4D63-4A9E-4049-AC60-C86B50E9CB2D}" destId="{FA5A6EC4-5F0C-4E79-8ECC-B6C1D673B194}" srcOrd="0" destOrd="0" presId="urn:microsoft.com/office/officeart/2009/3/layout/HorizontalOrganizationChart"/>
    <dgm:cxn modelId="{F4E66518-C72D-4EBD-B969-A84907CADC92}" type="presOf" srcId="{23FE4D63-4A9E-4049-AC60-C86B50E9CB2D}" destId="{5F6EB41A-3FE4-4870-8D75-276857D8AB2A}" srcOrd="1" destOrd="0" presId="urn:microsoft.com/office/officeart/2009/3/layout/HorizontalOrganizationChart"/>
    <dgm:cxn modelId="{CDCC2B1F-E195-439E-B37A-5C49131AD14B}" type="presOf" srcId="{69E958E0-B257-4F2C-BF98-6E59E1F4E456}" destId="{56608C78-8260-426A-8EB3-F22EE7F48117}" srcOrd="0" destOrd="0" presId="urn:microsoft.com/office/officeart/2009/3/layout/HorizontalOrganizationChart"/>
    <dgm:cxn modelId="{F08590C2-D92B-442B-B3FA-BAF8F1D15E98}" type="presOf" srcId="{0DC7E50E-8DA1-448E-B81D-2287929D82C0}" destId="{20EC63F5-149E-4757-9253-2AE13A0311AA}" srcOrd="0" destOrd="0" presId="urn:microsoft.com/office/officeart/2009/3/layout/HorizontalOrganizationChart"/>
    <dgm:cxn modelId="{CB4A3EDE-9DB1-48C6-BFA4-844F18CC4C4D}" srcId="{6DB1CAEF-C6E7-4A95-82ED-550B9AD87FC9}" destId="{69E958E0-B257-4F2C-BF98-6E59E1F4E456}" srcOrd="3" destOrd="0" parTransId="{8601BB75-9A3E-4CD5-A35C-EC1B7287937E}" sibTransId="{6CBFFDED-F91C-4402-9828-72711D34B569}"/>
    <dgm:cxn modelId="{306E0918-5FE6-453F-A585-8166D598A0D6}" type="presOf" srcId="{6DB1CAEF-C6E7-4A95-82ED-550B9AD87FC9}" destId="{D71568D3-322E-43CA-85A2-635DA2E6325A}" srcOrd="1" destOrd="0" presId="urn:microsoft.com/office/officeart/2009/3/layout/HorizontalOrganizationChart"/>
    <dgm:cxn modelId="{0C1E6B37-ECC7-4336-A4CC-8CE0BC33D8BB}" type="presOf" srcId="{69E958E0-B257-4F2C-BF98-6E59E1F4E456}" destId="{823FA863-41C1-4F49-9836-0A7237F95D10}" srcOrd="1" destOrd="0" presId="urn:microsoft.com/office/officeart/2009/3/layout/HorizontalOrganizationChart"/>
    <dgm:cxn modelId="{64FD7B39-45CC-42E9-972B-49C09E0CF585}" type="presOf" srcId="{67335D3B-E713-4BF1-92B5-75C74DE006F0}" destId="{A0714C10-5A7D-47FC-B452-F2267863EFF2}" srcOrd="1" destOrd="0" presId="urn:microsoft.com/office/officeart/2009/3/layout/HorizontalOrganizationChart"/>
    <dgm:cxn modelId="{941E9017-40AE-458C-9294-62188E87C2AD}" type="presOf" srcId="{0AE781FB-6BB2-4DD9-A404-8791AFEDA3A7}" destId="{62FA4BBD-F8C8-471A-822E-6DD293B62FDD}" srcOrd="0" destOrd="0" presId="urn:microsoft.com/office/officeart/2009/3/layout/HorizontalOrganizationChart"/>
    <dgm:cxn modelId="{7BD879D1-DF04-42B2-9405-93382A3DD2FB}" srcId="{6DB1CAEF-C6E7-4A95-82ED-550B9AD87FC9}" destId="{23FE4D63-4A9E-4049-AC60-C86B50E9CB2D}" srcOrd="2" destOrd="0" parTransId="{37DBD6C1-4349-40DE-AB20-6D0B8AAD8AAF}" sibTransId="{D6E38D8B-1C2F-4343-9A62-5963A27F1400}"/>
    <dgm:cxn modelId="{15365809-2FB8-4FB1-8F17-B7AE8D62D7D9}" srcId="{6DB1CAEF-C6E7-4A95-82ED-550B9AD87FC9}" destId="{67335D3B-E713-4BF1-92B5-75C74DE006F0}" srcOrd="0" destOrd="0" parTransId="{536224BF-2788-4BAA-82AD-CF711C420D83}" sibTransId="{EB5074C4-ED8B-4828-861A-F074D7D15674}"/>
    <dgm:cxn modelId="{61E3FD40-5463-4E3E-8D95-A8C2A8AC8170}" srcId="{6DB1CAEF-C6E7-4A95-82ED-550B9AD87FC9}" destId="{0AE781FB-6BB2-4DD9-A404-8791AFEDA3A7}" srcOrd="1" destOrd="0" parTransId="{E453D558-3EE5-416D-9B2B-BB48CE3CA711}" sibTransId="{DAB6E24C-6544-4D18-BF69-D775798E7E93}"/>
    <dgm:cxn modelId="{531B8E49-9E23-467C-8511-64EC1148DB29}" type="presOf" srcId="{8601BB75-9A3E-4CD5-A35C-EC1B7287937E}" destId="{9C8C49AE-D067-46BA-BD52-E8E5353E4E59}" srcOrd="0" destOrd="0" presId="urn:microsoft.com/office/officeart/2009/3/layout/HorizontalOrganizationChart"/>
    <dgm:cxn modelId="{8C7FFC54-6AD7-4B1D-9662-AB0D470F7582}" type="presParOf" srcId="{20EC63F5-149E-4757-9253-2AE13A0311AA}" destId="{08550D11-6070-469B-9A44-84736438A115}" srcOrd="0" destOrd="0" presId="urn:microsoft.com/office/officeart/2009/3/layout/HorizontalOrganizationChart"/>
    <dgm:cxn modelId="{C97E8DC1-744C-4141-8732-3AEDD07131AF}" type="presParOf" srcId="{08550D11-6070-469B-9A44-84736438A115}" destId="{0FDF26F4-B513-4E03-A9E8-12ECC9CF8F58}" srcOrd="0" destOrd="0" presId="urn:microsoft.com/office/officeart/2009/3/layout/HorizontalOrganizationChart"/>
    <dgm:cxn modelId="{17C1222F-C28B-4338-80C2-560E398AA5E4}" type="presParOf" srcId="{0FDF26F4-B513-4E03-A9E8-12ECC9CF8F58}" destId="{08B5DDB6-9F3F-4F3B-964C-42D087A3CBE7}" srcOrd="0" destOrd="0" presId="urn:microsoft.com/office/officeart/2009/3/layout/HorizontalOrganizationChart"/>
    <dgm:cxn modelId="{80E35E8A-0FC0-409A-A1B6-687E5935954D}" type="presParOf" srcId="{0FDF26F4-B513-4E03-A9E8-12ECC9CF8F58}" destId="{D71568D3-322E-43CA-85A2-635DA2E6325A}" srcOrd="1" destOrd="0" presId="urn:microsoft.com/office/officeart/2009/3/layout/HorizontalOrganizationChart"/>
    <dgm:cxn modelId="{4ED71A8F-D0FA-4C38-B925-2EAB106D02F0}" type="presParOf" srcId="{08550D11-6070-469B-9A44-84736438A115}" destId="{AD92AB05-48CE-4412-B26E-B212002C58F7}" srcOrd="1" destOrd="0" presId="urn:microsoft.com/office/officeart/2009/3/layout/HorizontalOrganizationChart"/>
    <dgm:cxn modelId="{F0E76C4A-F93D-48FB-9D6B-EBDBA47A346C}" type="presParOf" srcId="{AD92AB05-48CE-4412-B26E-B212002C58F7}" destId="{D56EFD55-1063-4631-B825-E1A75433745C}" srcOrd="0" destOrd="0" presId="urn:microsoft.com/office/officeart/2009/3/layout/HorizontalOrganizationChart"/>
    <dgm:cxn modelId="{9D3B1002-F9A0-4E86-B111-6CE6137C57CB}" type="presParOf" srcId="{AD92AB05-48CE-4412-B26E-B212002C58F7}" destId="{696F5881-FFD4-48F9-B101-F9992887C08A}" srcOrd="1" destOrd="0" presId="urn:microsoft.com/office/officeart/2009/3/layout/HorizontalOrganizationChart"/>
    <dgm:cxn modelId="{A27A5C01-4DC8-42EF-A05C-0F1BBDE2449E}" type="presParOf" srcId="{696F5881-FFD4-48F9-B101-F9992887C08A}" destId="{EF7B0A0C-0BF5-40F6-B1BE-47FC395C55C2}" srcOrd="0" destOrd="0" presId="urn:microsoft.com/office/officeart/2009/3/layout/HorizontalOrganizationChart"/>
    <dgm:cxn modelId="{5BC65BAC-7680-48A6-8F1D-15919220CC86}" type="presParOf" srcId="{EF7B0A0C-0BF5-40F6-B1BE-47FC395C55C2}" destId="{62FA4BBD-F8C8-471A-822E-6DD293B62FDD}" srcOrd="0" destOrd="0" presId="urn:microsoft.com/office/officeart/2009/3/layout/HorizontalOrganizationChart"/>
    <dgm:cxn modelId="{24CC60C9-F962-4685-9649-C6F3243C6019}" type="presParOf" srcId="{EF7B0A0C-0BF5-40F6-B1BE-47FC395C55C2}" destId="{31D7EF02-5F62-4333-B53F-BC52FC6579D3}" srcOrd="1" destOrd="0" presId="urn:microsoft.com/office/officeart/2009/3/layout/HorizontalOrganizationChart"/>
    <dgm:cxn modelId="{07A51F81-6F80-4D50-BD06-AD894E9D5E5F}" type="presParOf" srcId="{696F5881-FFD4-48F9-B101-F9992887C08A}" destId="{B828CBD0-9067-4492-9638-8DAF1496E37C}" srcOrd="1" destOrd="0" presId="urn:microsoft.com/office/officeart/2009/3/layout/HorizontalOrganizationChart"/>
    <dgm:cxn modelId="{8E88FC75-9437-41E4-AF2A-0CA5E67EA194}" type="presParOf" srcId="{696F5881-FFD4-48F9-B101-F9992887C08A}" destId="{530C158C-5CA4-48C7-8314-47DCF015D7E5}" srcOrd="2" destOrd="0" presId="urn:microsoft.com/office/officeart/2009/3/layout/HorizontalOrganizationChart"/>
    <dgm:cxn modelId="{9DC7693E-5780-46AB-B084-122D857B1B1B}" type="presParOf" srcId="{AD92AB05-48CE-4412-B26E-B212002C58F7}" destId="{261DE5B6-82F9-414B-8169-48B09B71A7FB}" srcOrd="2" destOrd="0" presId="urn:microsoft.com/office/officeart/2009/3/layout/HorizontalOrganizationChart"/>
    <dgm:cxn modelId="{DE8AE542-A960-4F8A-A079-527161CECAC5}" type="presParOf" srcId="{AD92AB05-48CE-4412-B26E-B212002C58F7}" destId="{43F6D872-5D15-448F-9063-1DA0F2E2ED8C}" srcOrd="3" destOrd="0" presId="urn:microsoft.com/office/officeart/2009/3/layout/HorizontalOrganizationChart"/>
    <dgm:cxn modelId="{5D530E9C-2366-4362-9080-128E57D8250F}" type="presParOf" srcId="{43F6D872-5D15-448F-9063-1DA0F2E2ED8C}" destId="{FD396FCD-3918-484D-ADD8-AA6FC06740CF}" srcOrd="0" destOrd="0" presId="urn:microsoft.com/office/officeart/2009/3/layout/HorizontalOrganizationChart"/>
    <dgm:cxn modelId="{027CEDDA-4AE5-4773-9DF1-4995FF9922B7}" type="presParOf" srcId="{FD396FCD-3918-484D-ADD8-AA6FC06740CF}" destId="{FA5A6EC4-5F0C-4E79-8ECC-B6C1D673B194}" srcOrd="0" destOrd="0" presId="urn:microsoft.com/office/officeart/2009/3/layout/HorizontalOrganizationChart"/>
    <dgm:cxn modelId="{8DED52EA-873C-4D76-AD6B-6A06A0C96C2D}" type="presParOf" srcId="{FD396FCD-3918-484D-ADD8-AA6FC06740CF}" destId="{5F6EB41A-3FE4-4870-8D75-276857D8AB2A}" srcOrd="1" destOrd="0" presId="urn:microsoft.com/office/officeart/2009/3/layout/HorizontalOrganizationChart"/>
    <dgm:cxn modelId="{A6F9119A-745A-4FF0-B31D-637F05B18F40}" type="presParOf" srcId="{43F6D872-5D15-448F-9063-1DA0F2E2ED8C}" destId="{9481BBC4-1538-44A8-81B2-C7AC551EFF12}" srcOrd="1" destOrd="0" presId="urn:microsoft.com/office/officeart/2009/3/layout/HorizontalOrganizationChart"/>
    <dgm:cxn modelId="{06FEDDDD-2DDE-4D72-A07B-16B825F60FE6}" type="presParOf" srcId="{43F6D872-5D15-448F-9063-1DA0F2E2ED8C}" destId="{A141B7AA-E1CC-4E58-B634-5D2597D2A998}" srcOrd="2" destOrd="0" presId="urn:microsoft.com/office/officeart/2009/3/layout/HorizontalOrganizationChart"/>
    <dgm:cxn modelId="{933BD7AA-E123-4AA8-B809-F8335A711E0B}" type="presParOf" srcId="{AD92AB05-48CE-4412-B26E-B212002C58F7}" destId="{9C8C49AE-D067-46BA-BD52-E8E5353E4E59}" srcOrd="4" destOrd="0" presId="urn:microsoft.com/office/officeart/2009/3/layout/HorizontalOrganizationChart"/>
    <dgm:cxn modelId="{8FF8FFA4-E7BE-4938-A025-4D99E3D1F36C}" type="presParOf" srcId="{AD92AB05-48CE-4412-B26E-B212002C58F7}" destId="{27DDA6F1-0805-45CB-A536-C9ACE4475D62}" srcOrd="5" destOrd="0" presId="urn:microsoft.com/office/officeart/2009/3/layout/HorizontalOrganizationChart"/>
    <dgm:cxn modelId="{6AD54A2D-4BB7-4773-8385-C8AE6DCFBB84}" type="presParOf" srcId="{27DDA6F1-0805-45CB-A536-C9ACE4475D62}" destId="{36257E19-0489-4613-87FF-4128D4D83444}" srcOrd="0" destOrd="0" presId="urn:microsoft.com/office/officeart/2009/3/layout/HorizontalOrganizationChart"/>
    <dgm:cxn modelId="{82D9293A-A6A5-4584-BBFB-893ED1D21AF1}" type="presParOf" srcId="{36257E19-0489-4613-87FF-4128D4D83444}" destId="{56608C78-8260-426A-8EB3-F22EE7F48117}" srcOrd="0" destOrd="0" presId="urn:microsoft.com/office/officeart/2009/3/layout/HorizontalOrganizationChart"/>
    <dgm:cxn modelId="{909B9F0C-2DFE-4A4D-84DA-9EB9564A91EA}" type="presParOf" srcId="{36257E19-0489-4613-87FF-4128D4D83444}" destId="{823FA863-41C1-4F49-9836-0A7237F95D10}" srcOrd="1" destOrd="0" presId="urn:microsoft.com/office/officeart/2009/3/layout/HorizontalOrganizationChart"/>
    <dgm:cxn modelId="{B0CED252-BFB7-4E82-8079-B522C6C0FDE1}" type="presParOf" srcId="{27DDA6F1-0805-45CB-A536-C9ACE4475D62}" destId="{BD5AB1B6-369B-49A5-AF1B-89B1241174FE}" srcOrd="1" destOrd="0" presId="urn:microsoft.com/office/officeart/2009/3/layout/HorizontalOrganizationChart"/>
    <dgm:cxn modelId="{ACE351B8-20A8-4BE8-8BC3-F51C75B6E584}" type="presParOf" srcId="{27DDA6F1-0805-45CB-A536-C9ACE4475D62}" destId="{FD3F6C83-7436-418E-B96F-D0471F0C3FBC}" srcOrd="2" destOrd="0" presId="urn:microsoft.com/office/officeart/2009/3/layout/HorizontalOrganizationChart"/>
    <dgm:cxn modelId="{9695E107-D8FF-4EA2-BC54-6D3D7B80E4F9}" type="presParOf" srcId="{08550D11-6070-469B-9A44-84736438A115}" destId="{9F6A4574-242A-4106-A18E-EA79523DD5ED}" srcOrd="2" destOrd="0" presId="urn:microsoft.com/office/officeart/2009/3/layout/HorizontalOrganizationChart"/>
    <dgm:cxn modelId="{71E1EA64-1CBA-48B5-AC73-2D84DF56DCE7}" type="presParOf" srcId="{9F6A4574-242A-4106-A18E-EA79523DD5ED}" destId="{E34715C7-E327-4415-B00A-AAFC3DF1094B}" srcOrd="0" destOrd="0" presId="urn:microsoft.com/office/officeart/2009/3/layout/HorizontalOrganizationChart"/>
    <dgm:cxn modelId="{047AD76C-FB8E-470D-ABBC-6BE7E082A724}" type="presParOf" srcId="{9F6A4574-242A-4106-A18E-EA79523DD5ED}" destId="{B6873F58-82D5-4C32-8D70-714460014665}" srcOrd="1" destOrd="0" presId="urn:microsoft.com/office/officeart/2009/3/layout/HorizontalOrganizationChart"/>
    <dgm:cxn modelId="{957596EE-BD1F-4A64-ACBE-EE3D206C2F08}" type="presParOf" srcId="{B6873F58-82D5-4C32-8D70-714460014665}" destId="{0E435286-FE98-4D52-A6EA-B14A85EE81C0}" srcOrd="0" destOrd="0" presId="urn:microsoft.com/office/officeart/2009/3/layout/HorizontalOrganizationChart"/>
    <dgm:cxn modelId="{098C202F-8249-48EC-A314-E97E2D87A204}" type="presParOf" srcId="{0E435286-FE98-4D52-A6EA-B14A85EE81C0}" destId="{54660D01-A6D9-40D9-8AC3-7AA0CFEECC5C}" srcOrd="0" destOrd="0" presId="urn:microsoft.com/office/officeart/2009/3/layout/HorizontalOrganizationChart"/>
    <dgm:cxn modelId="{735CFDAA-A354-4217-A9BB-323B918B2438}" type="presParOf" srcId="{0E435286-FE98-4D52-A6EA-B14A85EE81C0}" destId="{A0714C10-5A7D-47FC-B452-F2267863EFF2}" srcOrd="1" destOrd="0" presId="urn:microsoft.com/office/officeart/2009/3/layout/HorizontalOrganizationChart"/>
    <dgm:cxn modelId="{BE515F4C-DA29-4F78-A794-09E932AE577F}" type="presParOf" srcId="{B6873F58-82D5-4C32-8D70-714460014665}" destId="{2331618B-D736-406F-AFF1-07E7E30119AF}" srcOrd="1" destOrd="0" presId="urn:microsoft.com/office/officeart/2009/3/layout/HorizontalOrganizationChart"/>
    <dgm:cxn modelId="{1B273224-F911-4162-B900-15697F8912F7}" type="presParOf" srcId="{B6873F58-82D5-4C32-8D70-714460014665}" destId="{F604E949-A41F-4741-8B3D-DDE33433BA76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4715C7-E327-4415-B00A-AAFC3DF1094B}">
      <dsp:nvSpPr>
        <dsp:cNvPr id="0" name=""/>
        <dsp:cNvSpPr/>
      </dsp:nvSpPr>
      <dsp:spPr>
        <a:xfrm>
          <a:off x="2849759" y="1876668"/>
          <a:ext cx="1958471" cy="134694"/>
        </a:xfrm>
        <a:custGeom>
          <a:avLst/>
          <a:gdLst/>
          <a:ahLst/>
          <a:cxnLst/>
          <a:rect l="0" t="0" r="0" b="0"/>
          <a:pathLst>
            <a:path>
              <a:moveTo>
                <a:pt x="0" y="178539"/>
              </a:moveTo>
              <a:lnTo>
                <a:pt x="1999642" y="178539"/>
              </a:lnTo>
              <a:lnTo>
                <a:pt x="1999642" y="0"/>
              </a:lnTo>
            </a:path>
          </a:pathLst>
        </a:cu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C8C49AE-D067-46BA-BD52-E8E5353E4E59}">
      <dsp:nvSpPr>
        <dsp:cNvPr id="0" name=""/>
        <dsp:cNvSpPr/>
      </dsp:nvSpPr>
      <dsp:spPr>
        <a:xfrm>
          <a:off x="2849759" y="2011362"/>
          <a:ext cx="3986826" cy="12245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713621" y="0"/>
              </a:lnTo>
              <a:lnTo>
                <a:pt x="3713621" y="1228351"/>
              </a:lnTo>
              <a:lnTo>
                <a:pt x="3999285" y="1228351"/>
              </a:lnTo>
            </a:path>
          </a:pathLst>
        </a:cu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1DE5B6-82F9-414B-8169-48B09B71A7FB}">
      <dsp:nvSpPr>
        <dsp:cNvPr id="0" name=""/>
        <dsp:cNvSpPr/>
      </dsp:nvSpPr>
      <dsp:spPr>
        <a:xfrm>
          <a:off x="2849759" y="1965642"/>
          <a:ext cx="398682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999285" y="45720"/>
              </a:lnTo>
            </a:path>
          </a:pathLst>
        </a:cu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6EFD55-1063-4631-B825-E1A75433745C}">
      <dsp:nvSpPr>
        <dsp:cNvPr id="0" name=""/>
        <dsp:cNvSpPr/>
      </dsp:nvSpPr>
      <dsp:spPr>
        <a:xfrm>
          <a:off x="2849759" y="786837"/>
          <a:ext cx="3986826" cy="1224525"/>
        </a:xfrm>
        <a:custGeom>
          <a:avLst/>
          <a:gdLst/>
          <a:ahLst/>
          <a:cxnLst/>
          <a:rect l="0" t="0" r="0" b="0"/>
          <a:pathLst>
            <a:path>
              <a:moveTo>
                <a:pt x="0" y="1228351"/>
              </a:moveTo>
              <a:lnTo>
                <a:pt x="3713621" y="1228351"/>
              </a:lnTo>
              <a:lnTo>
                <a:pt x="3713621" y="0"/>
              </a:lnTo>
              <a:lnTo>
                <a:pt x="3999285" y="0"/>
              </a:lnTo>
            </a:path>
          </a:pathLst>
        </a:custGeom>
        <a:noFill/>
        <a:ln w="25400" cap="flat" cmpd="sng" algn="ctr">
          <a:solidFill>
            <a:schemeClr val="accent1">
              <a:tint val="99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B5DDB6-9F3F-4F3B-964C-42D087A3CBE7}">
      <dsp:nvSpPr>
        <dsp:cNvPr id="0" name=""/>
        <dsp:cNvSpPr/>
      </dsp:nvSpPr>
      <dsp:spPr>
        <a:xfrm>
          <a:off x="2026" y="1577083"/>
          <a:ext cx="2847733" cy="86855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РУМО</a:t>
          </a:r>
          <a:endParaRPr lang="ru-RU" sz="2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sp:txBody>
      <dsp:txXfrm>
        <a:off x="2026" y="1577083"/>
        <a:ext cx="2847733" cy="868558"/>
      </dsp:txXfrm>
    </dsp:sp>
    <dsp:sp modelId="{62FA4BBD-F8C8-471A-822E-6DD293B62FDD}">
      <dsp:nvSpPr>
        <dsp:cNvPr id="0" name=""/>
        <dsp:cNvSpPr/>
      </dsp:nvSpPr>
      <dsp:spPr>
        <a:xfrm>
          <a:off x="6836585" y="352558"/>
          <a:ext cx="2847733" cy="868558"/>
        </a:xfrm>
        <a:prstGeom prst="rect">
          <a:avLst/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u="none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МунУМО</a:t>
          </a:r>
          <a:endParaRPr lang="ru-RU" sz="2800" u="none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sp:txBody>
      <dsp:txXfrm>
        <a:off x="6836585" y="352558"/>
        <a:ext cx="2847733" cy="868558"/>
      </dsp:txXfrm>
    </dsp:sp>
    <dsp:sp modelId="{FA5A6EC4-5F0C-4E79-8ECC-B6C1D673B194}">
      <dsp:nvSpPr>
        <dsp:cNvPr id="0" name=""/>
        <dsp:cNvSpPr/>
      </dsp:nvSpPr>
      <dsp:spPr>
        <a:xfrm>
          <a:off x="6836585" y="1577083"/>
          <a:ext cx="2881649" cy="868558"/>
        </a:xfrm>
        <a:prstGeom prst="rect">
          <a:avLst/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НМС школы</a:t>
          </a:r>
          <a:endParaRPr lang="ru-RU" sz="2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sp:txBody>
      <dsp:txXfrm>
        <a:off x="6836585" y="1577083"/>
        <a:ext cx="2881649" cy="868558"/>
      </dsp:txXfrm>
    </dsp:sp>
    <dsp:sp modelId="{56608C78-8260-426A-8EB3-F22EE7F48117}">
      <dsp:nvSpPr>
        <dsp:cNvPr id="0" name=""/>
        <dsp:cNvSpPr/>
      </dsp:nvSpPr>
      <dsp:spPr>
        <a:xfrm>
          <a:off x="6836585" y="2801608"/>
          <a:ext cx="2847733" cy="868558"/>
        </a:xfrm>
        <a:prstGeom prst="rect">
          <a:avLst/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МПМО</a:t>
          </a:r>
          <a:endParaRPr lang="ru-RU" sz="2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sp:txBody>
      <dsp:txXfrm>
        <a:off x="6836585" y="2801608"/>
        <a:ext cx="2847733" cy="868558"/>
      </dsp:txXfrm>
    </dsp:sp>
    <dsp:sp modelId="{54660D01-A6D9-40D9-8AC3-7AA0CFEECC5C}">
      <dsp:nvSpPr>
        <dsp:cNvPr id="0" name=""/>
        <dsp:cNvSpPr/>
      </dsp:nvSpPr>
      <dsp:spPr>
        <a:xfrm>
          <a:off x="3384364" y="1008109"/>
          <a:ext cx="2847733" cy="868558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+mn-ea"/>
              <a:cs typeface="+mn-cs"/>
            </a:rPr>
            <a:t>ЦНППМПР</a:t>
          </a:r>
          <a:endParaRPr lang="ru-RU" sz="2800" kern="1200" dirty="0"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Calibri" panose="020F0502020204030204" pitchFamily="34" charset="0"/>
            <a:ea typeface="+mn-ea"/>
            <a:cs typeface="+mn-cs"/>
          </a:endParaRPr>
        </a:p>
      </dsp:txBody>
      <dsp:txXfrm>
        <a:off x="3384364" y="1008109"/>
        <a:ext cx="2847733" cy="8685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25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25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9064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25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27209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99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611756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8797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3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11296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40071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5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3430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23774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3"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98986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987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3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587985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73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47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0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5270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3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061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912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Picture 1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940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179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4738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1200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03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278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576678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00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472204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101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880426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1959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227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4477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2084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51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8701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127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275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219645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38784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44953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7057678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7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224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1756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9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209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8533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1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608693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3412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2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30523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21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666809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70189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6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9994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3864523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1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894479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0" orient="horz" pos="709" userDrawn="1">
          <p15:clr>
            <a:srgbClr val="FBAE40"/>
          </p15:clr>
        </p15:guide>
        <p15:guide id="1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76582960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972"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7479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3" r:id="rId9"/>
    <p:sldLayoutId id="2147483714" r:id="rId10"/>
    <p:sldLayoutId id="2147483715" r:id="rId11"/>
    <p:sldLayoutId id="2147483716" r:id="rId12"/>
    <p:sldLayoutId id="2147483694" r:id="rId13"/>
    <p:sldLayoutId id="2147483663" r:id="rId14"/>
    <p:sldLayoutId id="2147483662" r:id="rId15"/>
    <p:sldLayoutId id="2147483693" r:id="rId16"/>
    <p:sldLayoutId id="2147483667" r:id="rId17"/>
    <p:sldLayoutId id="2147483681" r:id="rId18"/>
    <p:sldLayoutId id="2147483686" r:id="rId19"/>
    <p:sldLayoutId id="2147483683" r:id="rId20"/>
    <p:sldLayoutId id="2147483692" r:id="rId21"/>
    <p:sldLayoutId id="2147483698" r:id="rId22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4.jpeg"/><Relationship Id="rId5" Type="http://schemas.openxmlformats.org/officeDocument/2006/relationships/image" Target="../media/image16.emf"/><Relationship Id="rId4" Type="http://schemas.openxmlformats.org/officeDocument/2006/relationships/package" Target="../embeddings/_________Microsoft_Word4.doc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hyperlink" Target="https://shop.prosv.ru/formirovanie-funkcionalnoj-gramotnosti-sbornik-zadach-po-russkomu-yazyku-dlya-8-11-klassov2781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vopros@prosv.ru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docs.cntd.ru/document/560764433" TargetMode="External"/><Relationship Id="rId2" Type="http://schemas.openxmlformats.org/officeDocument/2006/relationships/hyperlink" Target="http://docs.cntd.ru/document/420353316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package" Target="../embeddings/_________Microsoft_Word1.docx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4.jpeg"/><Relationship Id="rId5" Type="http://schemas.openxmlformats.org/officeDocument/2006/relationships/image" Target="../media/image13.emf"/><Relationship Id="rId4" Type="http://schemas.openxmlformats.org/officeDocument/2006/relationships/package" Target="../embeddings/_________Microsoft_Word2.docx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12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4.jpeg"/><Relationship Id="rId5" Type="http://schemas.openxmlformats.org/officeDocument/2006/relationships/image" Target="../media/image15.emf"/><Relationship Id="rId4" Type="http://schemas.openxmlformats.org/officeDocument/2006/relationships/package" Target="../embeddings/_________Microsoft_Word3.doc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946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66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3" name="Freeform 41"/>
          <p:cNvSpPr>
            <a:spLocks/>
          </p:cNvSpPr>
          <p:nvPr/>
        </p:nvSpPr>
        <p:spPr bwMode="auto">
          <a:xfrm>
            <a:off x="11600809" y="4756459"/>
            <a:ext cx="362085" cy="315984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4" name="Freeform 32"/>
          <p:cNvSpPr>
            <a:spLocks noEditPoints="1"/>
          </p:cNvSpPr>
          <p:nvPr/>
        </p:nvSpPr>
        <p:spPr bwMode="auto">
          <a:xfrm>
            <a:off x="802814" y="798746"/>
            <a:ext cx="424276" cy="383198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1" name="Freeform 52"/>
          <p:cNvSpPr>
            <a:spLocks noEditPoints="1"/>
          </p:cNvSpPr>
          <p:nvPr/>
        </p:nvSpPr>
        <p:spPr bwMode="auto">
          <a:xfrm>
            <a:off x="779649" y="2996953"/>
            <a:ext cx="447441" cy="407998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3" name="Freeform 41"/>
          <p:cNvSpPr>
            <a:spLocks/>
          </p:cNvSpPr>
          <p:nvPr/>
        </p:nvSpPr>
        <p:spPr bwMode="auto">
          <a:xfrm>
            <a:off x="6615886" y="732215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6" name="Freeform 55"/>
          <p:cNvSpPr>
            <a:spLocks noEditPoints="1"/>
          </p:cNvSpPr>
          <p:nvPr/>
        </p:nvSpPr>
        <p:spPr bwMode="auto">
          <a:xfrm>
            <a:off x="6599846" y="3146821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7" name="Freeform 46"/>
          <p:cNvSpPr>
            <a:spLocks noEditPoints="1"/>
          </p:cNvSpPr>
          <p:nvPr/>
        </p:nvSpPr>
        <p:spPr bwMode="auto">
          <a:xfrm>
            <a:off x="6705973" y="1960752"/>
            <a:ext cx="411407" cy="561088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279576" y="548680"/>
            <a:ext cx="684076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294790"/>
                </a:solidFill>
                <a:latin typeface="times new roman" panose="02020603050405020304" pitchFamily="18" charset="0"/>
              </a:rPr>
              <a:t>Муниципальное учебно-методическое объединение как центральное звено системы методического сопровождения педагогов в </a:t>
            </a:r>
            <a:r>
              <a:rPr lang="ru-RU" sz="2800" b="1" dirty="0" smtClean="0">
                <a:solidFill>
                  <a:srgbClr val="294790"/>
                </a:solidFill>
                <a:latin typeface="times new roman" panose="02020603050405020304" pitchFamily="18" charset="0"/>
              </a:rPr>
              <a:t>муниципалитете</a:t>
            </a:r>
          </a:p>
          <a:p>
            <a:pPr algn="ctr"/>
            <a:endParaRPr lang="ru-RU" sz="2800" b="1" dirty="0">
              <a:solidFill>
                <a:srgbClr val="294790"/>
              </a:solidFill>
              <a:latin typeface="times new roman" panose="02020603050405020304" pitchFamily="18" charset="0"/>
            </a:endParaRPr>
          </a:p>
          <a:p>
            <a:pPr algn="ctr"/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</a:endParaRPr>
          </a:p>
          <a:p>
            <a:pPr algn="ctr"/>
            <a:r>
              <a:rPr lang="ru-RU" sz="2000" b="1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Шонтукова Ирина Васильевна </a:t>
            </a:r>
          </a:p>
          <a:p>
            <a:pPr algn="ctr"/>
            <a:r>
              <a:rPr lang="ru-RU" b="1" dirty="0" err="1" smtClean="0">
                <a:solidFill>
                  <a:srgbClr val="C00000"/>
                </a:solidFill>
                <a:latin typeface="times new roman" panose="02020603050405020304" pitchFamily="18" charset="0"/>
              </a:rPr>
              <a:t>к.п.н</a:t>
            </a:r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., доцент,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заместитель директора ЦНППМПР </a:t>
            </a: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</a:rPr>
              <a:t>Министерство просвещения Кабардино-Балкарской республики  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88640"/>
            <a:ext cx="11520000" cy="785818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ЛАНА РАБОТЫ М</a:t>
            </a:r>
            <a:r>
              <a:rPr lang="ru-RU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32411457"/>
              </p:ext>
            </p:extLst>
          </p:nvPr>
        </p:nvGraphicFramePr>
        <p:xfrm>
          <a:off x="2423592" y="1484784"/>
          <a:ext cx="6624736" cy="4320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11" name="Документ" r:id="rId4" imgW="5925852" imgH="2066811" progId="Word.Document.12">
                  <p:embed/>
                </p:oleObj>
              </mc:Choice>
              <mc:Fallback>
                <p:oleObj name="Документ" r:id="rId4" imgW="5925852" imgH="2066811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23592" y="1484784"/>
                        <a:ext cx="6624736" cy="43204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5661248"/>
            <a:ext cx="7785485" cy="60386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83432" y="188640"/>
            <a:ext cx="746086" cy="55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130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24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3318" y="3051379"/>
            <a:ext cx="1477452" cy="1477452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95400" y="3254636"/>
            <a:ext cx="8806433" cy="12741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lnSpc>
                <a:spcPct val="120000"/>
              </a:lnSpc>
              <a:defRPr/>
            </a:pPr>
            <a:r>
              <a:rPr lang="ru-RU" sz="1600" b="1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6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</a:t>
            </a:r>
            <a:r>
              <a:rPr lang="ru-RU" sz="1600" dirty="0" err="1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, бизнес-центр «Новослободский»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6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endParaRPr lang="ru-RU" sz="1600" spc="-40" dirty="0">
              <a:solidFill>
                <a:schemeClr val="tx1">
                  <a:lumMod val="75000"/>
                  <a:lumOff val="2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0719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623392" y="6309320"/>
            <a:ext cx="8857911" cy="288000"/>
          </a:xfrm>
        </p:spPr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88640"/>
            <a:ext cx="11520000" cy="720080"/>
          </a:xfrm>
        </p:spPr>
        <p:txBody>
          <a:bodyPr>
            <a:normAutofit/>
          </a:bodyPr>
          <a:lstStyle/>
          <a:p>
            <a:pPr algn="ctr"/>
            <a:r>
              <a:rPr lang="ru-RU" sz="3200" cap="all" spc="1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ые документы</a:t>
            </a:r>
            <a:endParaRPr lang="ru-RU" sz="3200" dirty="0">
              <a:solidFill>
                <a:srgbClr val="2947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85821" y="1030112"/>
            <a:ext cx="11017224" cy="48361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lvl="0" indent="-9144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r>
              <a:rPr lang="ru-RU" sz="1400" dirty="0">
                <a:solidFill>
                  <a:srgbClr val="00466E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Федеральный закон от 29 декабря 2012 года N 273-ФЗ "Об образовании в Российской Федерации"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" lvl="0" indent="-91440" fontAlgn="base">
              <a:lnSpc>
                <a:spcPct val="150000"/>
              </a:lnSpc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endParaRPr lang="ru-RU" sz="1400" dirty="0" smtClean="0">
              <a:solidFill>
                <a:srgbClr val="2424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fontAlgn="base">
              <a:lnSpc>
                <a:spcPct val="150000"/>
              </a:lnSpc>
              <a:buClr>
                <a:srgbClr val="1CADE4"/>
              </a:buClr>
              <a:buSzPct val="100000"/>
            </a:pPr>
            <a:r>
              <a:rPr lang="ru-RU" sz="1400" dirty="0" smtClean="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Статья </a:t>
            </a:r>
            <a:r>
              <a:rPr lang="ru-RU" sz="1400" dirty="0">
                <a:solidFill>
                  <a:srgbClr val="2424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. Научно-методическое и ресурсное обеспечение системы образования</a:t>
            </a:r>
          </a:p>
          <a:p>
            <a:pPr marL="91440" lvl="0" indent="-91440">
              <a:lnSpc>
                <a:spcPct val="150000"/>
              </a:lnSpc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r>
              <a:rPr lang="ru-RU" sz="140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Учебно-методические объединения в системе образования создаются федеральными органами исполнительной власти и органами исполнительной власти субъектов Российской Федерации, осуществляющими государственное управление в сфере образования, и осуществляют свою деятельность в соответствии с положениями, утвержденными этими органами. Типовые положения об учебно-методических объединениях в системе общего образования и среднего профессионального образования утверждаются федеральным органом исполнительной власти, осуществляющим функции по выработке и реализации государственной политики и нормативно-правовому регулированию в сфере общего образования. Типовое положение об учебно-методических объединениях в системе высшего образования утверждается федеральным органом исполнительной власти, осуществляющим функции по выработке и реализации государственной политики и нормативно-правовому регулированию в сфере высшего образования</a:t>
            </a:r>
            <a:r>
              <a:rPr lang="ru-RU" sz="1400" dirty="0" smtClean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91440" lvl="0" indent="-91440">
              <a:lnSpc>
                <a:spcPct val="150000"/>
              </a:lnSpc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r>
              <a:rPr lang="ru-RU" sz="1400" dirty="0" smtClean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асть в редакции, введенной в действие с 6 августа 2019 года </a:t>
            </a:r>
            <a:r>
              <a:rPr lang="ru-RU" sz="1400" u="sng" dirty="0">
                <a:solidFill>
                  <a:srgbClr val="00466E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Федеральным законом от 26 июля 2019 года N 232-ФЗ</a:t>
            </a:r>
            <a:r>
              <a:rPr lang="ru-RU" sz="1400" dirty="0">
                <a:solidFill>
                  <a:srgbClr val="2D2D2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" lvl="0" indent="-91440">
              <a:lnSpc>
                <a:spcPct val="150000"/>
              </a:lnSpc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КАЗ Минпросвещения России от 27 ноября 2018 года N 247 Об утверждении Типового положения об учебно-методических объединениях в системе общего образования</a:t>
            </a:r>
          </a:p>
        </p:txBody>
      </p:sp>
      <p:pic>
        <p:nvPicPr>
          <p:cNvPr id="7" name="Picture 4" descr="https://inewvationinternational.com/assets/homepage/frame-3/CONTENT-CREATION-MANAGEMEN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175353"/>
            <a:ext cx="640614" cy="61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4946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AutoShape 2" descr="https://www.adecco.fr/~/media/adeccogroup/brands/adecco-global-2016/france/media/outsourcing/businessman-in-apresentation-with-a-graphic-on-a-board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983432" y="1268760"/>
            <a:ext cx="10585176" cy="32480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</a:rPr>
              <a:t>МИНИСТЕРСТВО ОБРАЗОВАНИЯ РОССИЙСКОЙ ФЕДЕРАЦИИ ПИСЬМО от 9 марта 2004 года N 03-51-48ин/42-03 ПИСЬМО </a:t>
            </a:r>
            <a:endParaRPr lang="ru-RU" sz="1600" dirty="0" smtClean="0">
              <a:latin typeface="Calibri" panose="020F050202020403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Calibri" panose="020F0502020204030204" pitchFamily="34" charset="0"/>
              </a:rPr>
              <a:t>[</a:t>
            </a:r>
            <a:r>
              <a:rPr lang="ru-RU" sz="1600" dirty="0">
                <a:latin typeface="Calibri" panose="020F0502020204030204" pitchFamily="34" charset="0"/>
              </a:rPr>
              <a:t>О направлении Рекомендаций об организации деятельности муниципальной методической службы в условиях модернизации образования</a:t>
            </a:r>
            <a:r>
              <a:rPr lang="ru-RU" sz="1600" dirty="0" smtClean="0">
                <a:latin typeface="Calibri" panose="020F0502020204030204" pitchFamily="34" charset="0"/>
              </a:rPr>
              <a:t>]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/>
              <a:t> Приказ Министерства </a:t>
            </a:r>
            <a:r>
              <a:rPr lang="ru-RU" sz="1600" dirty="0"/>
              <a:t>образования, науки и по делам молодежи КБР от 04.08.2015 г. №756 «О создании </a:t>
            </a:r>
            <a:r>
              <a:rPr lang="ru-RU" sz="1600" dirty="0" smtClean="0"/>
              <a:t>регионального      учебно-методического </a:t>
            </a:r>
            <a:r>
              <a:rPr lang="ru-RU" sz="1600" dirty="0"/>
              <a:t>объединения в системе общего образования Кабардино-Балкарской Республики»</a:t>
            </a:r>
            <a:endParaRPr lang="ru-RU" sz="1600" dirty="0">
              <a:latin typeface="Calibri" panose="020F050202020403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>
                <a:latin typeface="Calibri" panose="020F0502020204030204" pitchFamily="34" charset="0"/>
              </a:rPr>
              <a:t>Положение о муниципальном учебно-методическом объединении в системе общего образования Принято на заседании регионального </a:t>
            </a:r>
            <a:r>
              <a:rPr lang="ru-RU" sz="1600" dirty="0" smtClean="0">
                <a:latin typeface="Calibri" panose="020F0502020204030204" pitchFamily="34" charset="0"/>
              </a:rPr>
              <a:t>учебно- методического </a:t>
            </a:r>
            <a:r>
              <a:rPr lang="ru-RU" sz="1600" dirty="0">
                <a:latin typeface="Calibri" panose="020F0502020204030204" pitchFamily="34" charset="0"/>
              </a:rPr>
              <a:t>объединения в системе общего образования КБР Протокол № 5 от </a:t>
            </a:r>
            <a:r>
              <a:rPr lang="ru-RU" sz="1600" dirty="0" smtClean="0">
                <a:latin typeface="Calibri" panose="020F0502020204030204" pitchFamily="34" charset="0"/>
              </a:rPr>
              <a:t>«27» декабря 2017г</a:t>
            </a:r>
            <a:r>
              <a:rPr lang="ru-RU" sz="1600" dirty="0">
                <a:latin typeface="Calibri" panose="020F0502020204030204" pitchFamily="34" charset="0"/>
              </a:rPr>
              <a:t>. 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Calibri" panose="020F0502020204030204" pitchFamily="34" charset="0"/>
              </a:rPr>
              <a:t>Утверждены Приказами Управлений образования местных администраций </a:t>
            </a:r>
            <a:r>
              <a:rPr lang="ru-RU" sz="1600" dirty="0">
                <a:solidFill>
                  <a:prstClr val="black"/>
                </a:solidFill>
                <a:latin typeface="Calibri" panose="020F0502020204030204" pitchFamily="34" charset="0"/>
              </a:rPr>
              <a:t>Положения о МунУМО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11624" y="181339"/>
            <a:ext cx="64087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cap="all" spc="1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ые документы</a:t>
            </a:r>
            <a:endParaRPr lang="ru-RU" sz="3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" name="Picture 4" descr="https://inewvationinternational.com/assets/homepage/frame-3/CONTENT-CREATION-MANAGEMENT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48" y="181339"/>
            <a:ext cx="640614" cy="61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0808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4879" y="224695"/>
            <a:ext cx="11378191" cy="785818"/>
          </a:xfr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txBody>
          <a:bodyPr>
            <a:normAutofit/>
          </a:bodyPr>
          <a:lstStyle/>
          <a:p>
            <a:pPr algn="ctr"/>
            <a:r>
              <a:rPr lang="ru-RU" sz="2800" cap="all" spc="1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методической работы в </a:t>
            </a:r>
            <a:r>
              <a:rPr lang="ru-RU" sz="2800" cap="all" spc="100" dirty="0" err="1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Кбр</a:t>
            </a:r>
            <a:endParaRPr lang="ru-RU" sz="2800" dirty="0">
              <a:solidFill>
                <a:srgbClr val="2947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15417268"/>
              </p:ext>
            </p:extLst>
          </p:nvPr>
        </p:nvGraphicFramePr>
        <p:xfrm>
          <a:off x="1037251" y="1772816"/>
          <a:ext cx="9720262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Freeform 19"/>
          <p:cNvSpPr>
            <a:spLocks noEditPoints="1"/>
          </p:cNvSpPr>
          <p:nvPr/>
        </p:nvSpPr>
        <p:spPr bwMode="auto">
          <a:xfrm>
            <a:off x="1037251" y="224695"/>
            <a:ext cx="702817" cy="432048"/>
          </a:xfrm>
          <a:custGeom>
            <a:avLst/>
            <a:gdLst/>
            <a:ahLst/>
            <a:cxnLst>
              <a:cxn ang="0">
                <a:pos x="26" y="286"/>
              </a:cxn>
              <a:cxn ang="0">
                <a:pos x="2" y="364"/>
              </a:cxn>
              <a:cxn ang="0">
                <a:pos x="170" y="428"/>
              </a:cxn>
              <a:cxn ang="0">
                <a:pos x="208" y="344"/>
              </a:cxn>
              <a:cxn ang="0">
                <a:pos x="354" y="276"/>
              </a:cxn>
              <a:cxn ang="0">
                <a:pos x="244" y="220"/>
              </a:cxn>
              <a:cxn ang="0">
                <a:pos x="262" y="180"/>
              </a:cxn>
              <a:cxn ang="0">
                <a:pos x="280" y="136"/>
              </a:cxn>
              <a:cxn ang="0">
                <a:pos x="278" y="94"/>
              </a:cxn>
              <a:cxn ang="0">
                <a:pos x="264" y="42"/>
              </a:cxn>
              <a:cxn ang="0">
                <a:pos x="212" y="12"/>
              </a:cxn>
              <a:cxn ang="0">
                <a:pos x="174" y="14"/>
              </a:cxn>
              <a:cxn ang="0">
                <a:pos x="124" y="50"/>
              </a:cxn>
              <a:cxn ang="0">
                <a:pos x="118" y="106"/>
              </a:cxn>
              <a:cxn ang="0">
                <a:pos x="118" y="150"/>
              </a:cxn>
              <a:cxn ang="0">
                <a:pos x="138" y="192"/>
              </a:cxn>
              <a:cxn ang="0">
                <a:pos x="144" y="226"/>
              </a:cxn>
              <a:cxn ang="0">
                <a:pos x="558" y="276"/>
              </a:cxn>
              <a:cxn ang="0">
                <a:pos x="694" y="334"/>
              </a:cxn>
              <a:cxn ang="0">
                <a:pos x="734" y="396"/>
              </a:cxn>
              <a:cxn ang="0">
                <a:pos x="912" y="384"/>
              </a:cxn>
              <a:cxn ang="0">
                <a:pos x="892" y="292"/>
              </a:cxn>
              <a:cxn ang="0">
                <a:pos x="784" y="238"/>
              </a:cxn>
              <a:cxn ang="0">
                <a:pos x="758" y="214"/>
              </a:cxn>
              <a:cxn ang="0">
                <a:pos x="790" y="166"/>
              </a:cxn>
              <a:cxn ang="0">
                <a:pos x="800" y="110"/>
              </a:cxn>
              <a:cxn ang="0">
                <a:pos x="792" y="62"/>
              </a:cxn>
              <a:cxn ang="0">
                <a:pos x="768" y="28"/>
              </a:cxn>
              <a:cxn ang="0">
                <a:pos x="712" y="12"/>
              </a:cxn>
              <a:cxn ang="0">
                <a:pos x="664" y="28"/>
              </a:cxn>
              <a:cxn ang="0">
                <a:pos x="638" y="62"/>
              </a:cxn>
              <a:cxn ang="0">
                <a:pos x="632" y="110"/>
              </a:cxn>
              <a:cxn ang="0">
                <a:pos x="646" y="168"/>
              </a:cxn>
              <a:cxn ang="0">
                <a:pos x="672" y="214"/>
              </a:cxn>
              <a:cxn ang="0">
                <a:pos x="646" y="238"/>
              </a:cxn>
              <a:cxn ang="0">
                <a:pos x="234" y="362"/>
              </a:cxn>
              <a:cxn ang="0">
                <a:pos x="198" y="442"/>
              </a:cxn>
              <a:cxn ang="0">
                <a:pos x="722" y="560"/>
              </a:cxn>
              <a:cxn ang="0">
                <a:pos x="714" y="442"/>
              </a:cxn>
              <a:cxn ang="0">
                <a:pos x="680" y="362"/>
              </a:cxn>
              <a:cxn ang="0">
                <a:pos x="528" y="290"/>
              </a:cxn>
              <a:cxn ang="0">
                <a:pos x="536" y="242"/>
              </a:cxn>
              <a:cxn ang="0">
                <a:pos x="564" y="186"/>
              </a:cxn>
              <a:cxn ang="0">
                <a:pos x="564" y="128"/>
              </a:cxn>
              <a:cxn ang="0">
                <a:pos x="554" y="52"/>
              </a:cxn>
              <a:cxn ang="0">
                <a:pos x="514" y="16"/>
              </a:cxn>
              <a:cxn ang="0">
                <a:pos x="450" y="0"/>
              </a:cxn>
              <a:cxn ang="0">
                <a:pos x="398" y="16"/>
              </a:cxn>
              <a:cxn ang="0">
                <a:pos x="358" y="52"/>
              </a:cxn>
              <a:cxn ang="0">
                <a:pos x="350" y="128"/>
              </a:cxn>
              <a:cxn ang="0">
                <a:pos x="350" y="186"/>
              </a:cxn>
              <a:cxn ang="0">
                <a:pos x="378" y="242"/>
              </a:cxn>
              <a:cxn ang="0">
                <a:pos x="386" y="290"/>
              </a:cxn>
            </a:cxnLst>
            <a:rect l="0" t="0" r="r" b="b"/>
            <a:pathLst>
              <a:path w="914" h="560">
                <a:moveTo>
                  <a:pt x="128" y="238"/>
                </a:moveTo>
                <a:lnTo>
                  <a:pt x="38" y="276"/>
                </a:lnTo>
                <a:lnTo>
                  <a:pt x="38" y="276"/>
                </a:lnTo>
                <a:lnTo>
                  <a:pt x="32" y="280"/>
                </a:lnTo>
                <a:lnTo>
                  <a:pt x="26" y="286"/>
                </a:lnTo>
                <a:lnTo>
                  <a:pt x="22" y="292"/>
                </a:lnTo>
                <a:lnTo>
                  <a:pt x="16" y="300"/>
                </a:lnTo>
                <a:lnTo>
                  <a:pt x="10" y="318"/>
                </a:lnTo>
                <a:lnTo>
                  <a:pt x="6" y="340"/>
                </a:lnTo>
                <a:lnTo>
                  <a:pt x="2" y="364"/>
                </a:lnTo>
                <a:lnTo>
                  <a:pt x="0" y="384"/>
                </a:lnTo>
                <a:lnTo>
                  <a:pt x="0" y="420"/>
                </a:lnTo>
                <a:lnTo>
                  <a:pt x="0" y="428"/>
                </a:lnTo>
                <a:lnTo>
                  <a:pt x="170" y="428"/>
                </a:lnTo>
                <a:lnTo>
                  <a:pt x="170" y="428"/>
                </a:lnTo>
                <a:lnTo>
                  <a:pt x="178" y="396"/>
                </a:lnTo>
                <a:lnTo>
                  <a:pt x="184" y="380"/>
                </a:lnTo>
                <a:lnTo>
                  <a:pt x="192" y="366"/>
                </a:lnTo>
                <a:lnTo>
                  <a:pt x="200" y="354"/>
                </a:lnTo>
                <a:lnTo>
                  <a:pt x="208" y="344"/>
                </a:lnTo>
                <a:lnTo>
                  <a:pt x="220" y="334"/>
                </a:lnTo>
                <a:lnTo>
                  <a:pt x="232" y="328"/>
                </a:lnTo>
                <a:lnTo>
                  <a:pt x="352" y="278"/>
                </a:lnTo>
                <a:lnTo>
                  <a:pt x="352" y="278"/>
                </a:lnTo>
                <a:lnTo>
                  <a:pt x="354" y="276"/>
                </a:lnTo>
                <a:lnTo>
                  <a:pt x="266" y="238"/>
                </a:lnTo>
                <a:lnTo>
                  <a:pt x="266" y="238"/>
                </a:lnTo>
                <a:lnTo>
                  <a:pt x="258" y="232"/>
                </a:lnTo>
                <a:lnTo>
                  <a:pt x="250" y="226"/>
                </a:lnTo>
                <a:lnTo>
                  <a:pt x="244" y="220"/>
                </a:lnTo>
                <a:lnTo>
                  <a:pt x="240" y="214"/>
                </a:lnTo>
                <a:lnTo>
                  <a:pt x="240" y="214"/>
                </a:lnTo>
                <a:lnTo>
                  <a:pt x="250" y="204"/>
                </a:lnTo>
                <a:lnTo>
                  <a:pt x="256" y="192"/>
                </a:lnTo>
                <a:lnTo>
                  <a:pt x="262" y="180"/>
                </a:lnTo>
                <a:lnTo>
                  <a:pt x="266" y="168"/>
                </a:lnTo>
                <a:lnTo>
                  <a:pt x="272" y="166"/>
                </a:lnTo>
                <a:lnTo>
                  <a:pt x="272" y="166"/>
                </a:lnTo>
                <a:lnTo>
                  <a:pt x="276" y="150"/>
                </a:lnTo>
                <a:lnTo>
                  <a:pt x="280" y="136"/>
                </a:lnTo>
                <a:lnTo>
                  <a:pt x="280" y="122"/>
                </a:lnTo>
                <a:lnTo>
                  <a:pt x="280" y="110"/>
                </a:lnTo>
                <a:lnTo>
                  <a:pt x="276" y="106"/>
                </a:lnTo>
                <a:lnTo>
                  <a:pt x="276" y="106"/>
                </a:lnTo>
                <a:lnTo>
                  <a:pt x="278" y="94"/>
                </a:lnTo>
                <a:lnTo>
                  <a:pt x="276" y="78"/>
                </a:lnTo>
                <a:lnTo>
                  <a:pt x="274" y="62"/>
                </a:lnTo>
                <a:lnTo>
                  <a:pt x="270" y="50"/>
                </a:lnTo>
                <a:lnTo>
                  <a:pt x="270" y="50"/>
                </a:lnTo>
                <a:lnTo>
                  <a:pt x="264" y="42"/>
                </a:lnTo>
                <a:lnTo>
                  <a:pt x="258" y="34"/>
                </a:lnTo>
                <a:lnTo>
                  <a:pt x="250" y="28"/>
                </a:lnTo>
                <a:lnTo>
                  <a:pt x="240" y="22"/>
                </a:lnTo>
                <a:lnTo>
                  <a:pt x="222" y="14"/>
                </a:lnTo>
                <a:lnTo>
                  <a:pt x="212" y="12"/>
                </a:lnTo>
                <a:lnTo>
                  <a:pt x="202" y="12"/>
                </a:lnTo>
                <a:lnTo>
                  <a:pt x="192" y="12"/>
                </a:lnTo>
                <a:lnTo>
                  <a:pt x="192" y="12"/>
                </a:lnTo>
                <a:lnTo>
                  <a:pt x="184" y="12"/>
                </a:lnTo>
                <a:lnTo>
                  <a:pt x="174" y="14"/>
                </a:lnTo>
                <a:lnTo>
                  <a:pt x="154" y="22"/>
                </a:lnTo>
                <a:lnTo>
                  <a:pt x="146" y="28"/>
                </a:lnTo>
                <a:lnTo>
                  <a:pt x="136" y="34"/>
                </a:lnTo>
                <a:lnTo>
                  <a:pt x="130" y="42"/>
                </a:lnTo>
                <a:lnTo>
                  <a:pt x="124" y="50"/>
                </a:lnTo>
                <a:lnTo>
                  <a:pt x="124" y="50"/>
                </a:lnTo>
                <a:lnTo>
                  <a:pt x="120" y="62"/>
                </a:lnTo>
                <a:lnTo>
                  <a:pt x="118" y="78"/>
                </a:lnTo>
                <a:lnTo>
                  <a:pt x="118" y="94"/>
                </a:lnTo>
                <a:lnTo>
                  <a:pt x="118" y="106"/>
                </a:lnTo>
                <a:lnTo>
                  <a:pt x="114" y="110"/>
                </a:lnTo>
                <a:lnTo>
                  <a:pt x="114" y="110"/>
                </a:lnTo>
                <a:lnTo>
                  <a:pt x="114" y="122"/>
                </a:lnTo>
                <a:lnTo>
                  <a:pt x="116" y="136"/>
                </a:lnTo>
                <a:lnTo>
                  <a:pt x="118" y="150"/>
                </a:lnTo>
                <a:lnTo>
                  <a:pt x="122" y="166"/>
                </a:lnTo>
                <a:lnTo>
                  <a:pt x="128" y="168"/>
                </a:lnTo>
                <a:lnTo>
                  <a:pt x="128" y="168"/>
                </a:lnTo>
                <a:lnTo>
                  <a:pt x="132" y="180"/>
                </a:lnTo>
                <a:lnTo>
                  <a:pt x="138" y="192"/>
                </a:lnTo>
                <a:lnTo>
                  <a:pt x="146" y="204"/>
                </a:lnTo>
                <a:lnTo>
                  <a:pt x="154" y="214"/>
                </a:lnTo>
                <a:lnTo>
                  <a:pt x="154" y="214"/>
                </a:lnTo>
                <a:lnTo>
                  <a:pt x="150" y="220"/>
                </a:lnTo>
                <a:lnTo>
                  <a:pt x="144" y="226"/>
                </a:lnTo>
                <a:lnTo>
                  <a:pt x="138" y="232"/>
                </a:lnTo>
                <a:lnTo>
                  <a:pt x="128" y="238"/>
                </a:lnTo>
                <a:lnTo>
                  <a:pt x="128" y="238"/>
                </a:lnTo>
                <a:close/>
                <a:moveTo>
                  <a:pt x="646" y="238"/>
                </a:moveTo>
                <a:lnTo>
                  <a:pt x="558" y="276"/>
                </a:lnTo>
                <a:lnTo>
                  <a:pt x="558" y="276"/>
                </a:lnTo>
                <a:lnTo>
                  <a:pt x="562" y="278"/>
                </a:lnTo>
                <a:lnTo>
                  <a:pt x="682" y="328"/>
                </a:lnTo>
                <a:lnTo>
                  <a:pt x="682" y="328"/>
                </a:lnTo>
                <a:lnTo>
                  <a:pt x="694" y="334"/>
                </a:lnTo>
                <a:lnTo>
                  <a:pt x="704" y="344"/>
                </a:lnTo>
                <a:lnTo>
                  <a:pt x="714" y="354"/>
                </a:lnTo>
                <a:lnTo>
                  <a:pt x="722" y="366"/>
                </a:lnTo>
                <a:lnTo>
                  <a:pt x="728" y="380"/>
                </a:lnTo>
                <a:lnTo>
                  <a:pt x="734" y="396"/>
                </a:lnTo>
                <a:lnTo>
                  <a:pt x="744" y="428"/>
                </a:lnTo>
                <a:lnTo>
                  <a:pt x="914" y="428"/>
                </a:lnTo>
                <a:lnTo>
                  <a:pt x="914" y="420"/>
                </a:lnTo>
                <a:lnTo>
                  <a:pt x="914" y="420"/>
                </a:lnTo>
                <a:lnTo>
                  <a:pt x="912" y="384"/>
                </a:lnTo>
                <a:lnTo>
                  <a:pt x="910" y="364"/>
                </a:lnTo>
                <a:lnTo>
                  <a:pt x="908" y="340"/>
                </a:lnTo>
                <a:lnTo>
                  <a:pt x="902" y="318"/>
                </a:lnTo>
                <a:lnTo>
                  <a:pt x="896" y="300"/>
                </a:lnTo>
                <a:lnTo>
                  <a:pt x="892" y="292"/>
                </a:lnTo>
                <a:lnTo>
                  <a:pt x="888" y="286"/>
                </a:lnTo>
                <a:lnTo>
                  <a:pt x="882" y="280"/>
                </a:lnTo>
                <a:lnTo>
                  <a:pt x="876" y="276"/>
                </a:lnTo>
                <a:lnTo>
                  <a:pt x="784" y="238"/>
                </a:lnTo>
                <a:lnTo>
                  <a:pt x="784" y="238"/>
                </a:lnTo>
                <a:lnTo>
                  <a:pt x="776" y="232"/>
                </a:lnTo>
                <a:lnTo>
                  <a:pt x="768" y="226"/>
                </a:lnTo>
                <a:lnTo>
                  <a:pt x="762" y="220"/>
                </a:lnTo>
                <a:lnTo>
                  <a:pt x="758" y="214"/>
                </a:lnTo>
                <a:lnTo>
                  <a:pt x="758" y="214"/>
                </a:lnTo>
                <a:lnTo>
                  <a:pt x="768" y="204"/>
                </a:lnTo>
                <a:lnTo>
                  <a:pt x="774" y="192"/>
                </a:lnTo>
                <a:lnTo>
                  <a:pt x="780" y="180"/>
                </a:lnTo>
                <a:lnTo>
                  <a:pt x="784" y="168"/>
                </a:lnTo>
                <a:lnTo>
                  <a:pt x="790" y="166"/>
                </a:lnTo>
                <a:lnTo>
                  <a:pt x="790" y="166"/>
                </a:lnTo>
                <a:lnTo>
                  <a:pt x="796" y="150"/>
                </a:lnTo>
                <a:lnTo>
                  <a:pt x="798" y="136"/>
                </a:lnTo>
                <a:lnTo>
                  <a:pt x="800" y="122"/>
                </a:lnTo>
                <a:lnTo>
                  <a:pt x="800" y="110"/>
                </a:lnTo>
                <a:lnTo>
                  <a:pt x="796" y="106"/>
                </a:lnTo>
                <a:lnTo>
                  <a:pt x="796" y="106"/>
                </a:lnTo>
                <a:lnTo>
                  <a:pt x="796" y="94"/>
                </a:lnTo>
                <a:lnTo>
                  <a:pt x="796" y="78"/>
                </a:lnTo>
                <a:lnTo>
                  <a:pt x="792" y="62"/>
                </a:lnTo>
                <a:lnTo>
                  <a:pt x="788" y="50"/>
                </a:lnTo>
                <a:lnTo>
                  <a:pt x="788" y="50"/>
                </a:lnTo>
                <a:lnTo>
                  <a:pt x="784" y="42"/>
                </a:lnTo>
                <a:lnTo>
                  <a:pt x="776" y="34"/>
                </a:lnTo>
                <a:lnTo>
                  <a:pt x="768" y="28"/>
                </a:lnTo>
                <a:lnTo>
                  <a:pt x="760" y="22"/>
                </a:lnTo>
                <a:lnTo>
                  <a:pt x="740" y="14"/>
                </a:lnTo>
                <a:lnTo>
                  <a:pt x="730" y="12"/>
                </a:lnTo>
                <a:lnTo>
                  <a:pt x="720" y="12"/>
                </a:lnTo>
                <a:lnTo>
                  <a:pt x="712" y="12"/>
                </a:lnTo>
                <a:lnTo>
                  <a:pt x="712" y="12"/>
                </a:lnTo>
                <a:lnTo>
                  <a:pt x="702" y="12"/>
                </a:lnTo>
                <a:lnTo>
                  <a:pt x="692" y="14"/>
                </a:lnTo>
                <a:lnTo>
                  <a:pt x="672" y="22"/>
                </a:lnTo>
                <a:lnTo>
                  <a:pt x="664" y="28"/>
                </a:lnTo>
                <a:lnTo>
                  <a:pt x="656" y="34"/>
                </a:lnTo>
                <a:lnTo>
                  <a:pt x="648" y="42"/>
                </a:lnTo>
                <a:lnTo>
                  <a:pt x="644" y="50"/>
                </a:lnTo>
                <a:lnTo>
                  <a:pt x="644" y="50"/>
                </a:lnTo>
                <a:lnTo>
                  <a:pt x="638" y="62"/>
                </a:lnTo>
                <a:lnTo>
                  <a:pt x="636" y="78"/>
                </a:lnTo>
                <a:lnTo>
                  <a:pt x="636" y="94"/>
                </a:lnTo>
                <a:lnTo>
                  <a:pt x="636" y="106"/>
                </a:lnTo>
                <a:lnTo>
                  <a:pt x="632" y="110"/>
                </a:lnTo>
                <a:lnTo>
                  <a:pt x="632" y="110"/>
                </a:lnTo>
                <a:lnTo>
                  <a:pt x="632" y="122"/>
                </a:lnTo>
                <a:lnTo>
                  <a:pt x="634" y="136"/>
                </a:lnTo>
                <a:lnTo>
                  <a:pt x="636" y="150"/>
                </a:lnTo>
                <a:lnTo>
                  <a:pt x="642" y="166"/>
                </a:lnTo>
                <a:lnTo>
                  <a:pt x="646" y="168"/>
                </a:lnTo>
                <a:lnTo>
                  <a:pt x="646" y="168"/>
                </a:lnTo>
                <a:lnTo>
                  <a:pt x="650" y="180"/>
                </a:lnTo>
                <a:lnTo>
                  <a:pt x="656" y="192"/>
                </a:lnTo>
                <a:lnTo>
                  <a:pt x="664" y="204"/>
                </a:lnTo>
                <a:lnTo>
                  <a:pt x="672" y="214"/>
                </a:lnTo>
                <a:lnTo>
                  <a:pt x="672" y="214"/>
                </a:lnTo>
                <a:lnTo>
                  <a:pt x="668" y="220"/>
                </a:lnTo>
                <a:lnTo>
                  <a:pt x="664" y="226"/>
                </a:lnTo>
                <a:lnTo>
                  <a:pt x="656" y="232"/>
                </a:lnTo>
                <a:lnTo>
                  <a:pt x="646" y="238"/>
                </a:lnTo>
                <a:lnTo>
                  <a:pt x="646" y="238"/>
                </a:lnTo>
                <a:close/>
                <a:moveTo>
                  <a:pt x="364" y="304"/>
                </a:moveTo>
                <a:lnTo>
                  <a:pt x="242" y="356"/>
                </a:lnTo>
                <a:lnTo>
                  <a:pt x="242" y="356"/>
                </a:lnTo>
                <a:lnTo>
                  <a:pt x="234" y="362"/>
                </a:lnTo>
                <a:lnTo>
                  <a:pt x="226" y="368"/>
                </a:lnTo>
                <a:lnTo>
                  <a:pt x="220" y="376"/>
                </a:lnTo>
                <a:lnTo>
                  <a:pt x="214" y="388"/>
                </a:lnTo>
                <a:lnTo>
                  <a:pt x="204" y="414"/>
                </a:lnTo>
                <a:lnTo>
                  <a:pt x="198" y="442"/>
                </a:lnTo>
                <a:lnTo>
                  <a:pt x="194" y="472"/>
                </a:lnTo>
                <a:lnTo>
                  <a:pt x="192" y="502"/>
                </a:lnTo>
                <a:lnTo>
                  <a:pt x="190" y="548"/>
                </a:lnTo>
                <a:lnTo>
                  <a:pt x="190" y="560"/>
                </a:lnTo>
                <a:lnTo>
                  <a:pt x="722" y="560"/>
                </a:lnTo>
                <a:lnTo>
                  <a:pt x="722" y="548"/>
                </a:lnTo>
                <a:lnTo>
                  <a:pt x="722" y="548"/>
                </a:lnTo>
                <a:lnTo>
                  <a:pt x="722" y="502"/>
                </a:lnTo>
                <a:lnTo>
                  <a:pt x="718" y="472"/>
                </a:lnTo>
                <a:lnTo>
                  <a:pt x="714" y="442"/>
                </a:lnTo>
                <a:lnTo>
                  <a:pt x="708" y="414"/>
                </a:lnTo>
                <a:lnTo>
                  <a:pt x="700" y="388"/>
                </a:lnTo>
                <a:lnTo>
                  <a:pt x="694" y="376"/>
                </a:lnTo>
                <a:lnTo>
                  <a:pt x="686" y="368"/>
                </a:lnTo>
                <a:lnTo>
                  <a:pt x="680" y="362"/>
                </a:lnTo>
                <a:lnTo>
                  <a:pt x="670" y="356"/>
                </a:lnTo>
                <a:lnTo>
                  <a:pt x="550" y="304"/>
                </a:lnTo>
                <a:lnTo>
                  <a:pt x="550" y="304"/>
                </a:lnTo>
                <a:lnTo>
                  <a:pt x="538" y="298"/>
                </a:lnTo>
                <a:lnTo>
                  <a:pt x="528" y="290"/>
                </a:lnTo>
                <a:lnTo>
                  <a:pt x="520" y="280"/>
                </a:lnTo>
                <a:lnTo>
                  <a:pt x="514" y="272"/>
                </a:lnTo>
                <a:lnTo>
                  <a:pt x="514" y="272"/>
                </a:lnTo>
                <a:lnTo>
                  <a:pt x="526" y="258"/>
                </a:lnTo>
                <a:lnTo>
                  <a:pt x="536" y="242"/>
                </a:lnTo>
                <a:lnTo>
                  <a:pt x="544" y="226"/>
                </a:lnTo>
                <a:lnTo>
                  <a:pt x="550" y="212"/>
                </a:lnTo>
                <a:lnTo>
                  <a:pt x="556" y="206"/>
                </a:lnTo>
                <a:lnTo>
                  <a:pt x="556" y="206"/>
                </a:lnTo>
                <a:lnTo>
                  <a:pt x="564" y="186"/>
                </a:lnTo>
                <a:lnTo>
                  <a:pt x="568" y="168"/>
                </a:lnTo>
                <a:lnTo>
                  <a:pt x="568" y="150"/>
                </a:lnTo>
                <a:lnTo>
                  <a:pt x="568" y="132"/>
                </a:lnTo>
                <a:lnTo>
                  <a:pt x="564" y="128"/>
                </a:lnTo>
                <a:lnTo>
                  <a:pt x="564" y="128"/>
                </a:lnTo>
                <a:lnTo>
                  <a:pt x="564" y="110"/>
                </a:lnTo>
                <a:lnTo>
                  <a:pt x="564" y="90"/>
                </a:lnTo>
                <a:lnTo>
                  <a:pt x="560" y="68"/>
                </a:lnTo>
                <a:lnTo>
                  <a:pt x="558" y="60"/>
                </a:lnTo>
                <a:lnTo>
                  <a:pt x="554" y="52"/>
                </a:lnTo>
                <a:lnTo>
                  <a:pt x="554" y="52"/>
                </a:lnTo>
                <a:lnTo>
                  <a:pt x="548" y="42"/>
                </a:lnTo>
                <a:lnTo>
                  <a:pt x="538" y="32"/>
                </a:lnTo>
                <a:lnTo>
                  <a:pt x="526" y="22"/>
                </a:lnTo>
                <a:lnTo>
                  <a:pt x="514" y="16"/>
                </a:lnTo>
                <a:lnTo>
                  <a:pt x="502" y="10"/>
                </a:lnTo>
                <a:lnTo>
                  <a:pt x="488" y="4"/>
                </a:lnTo>
                <a:lnTo>
                  <a:pt x="476" y="2"/>
                </a:lnTo>
                <a:lnTo>
                  <a:pt x="462" y="0"/>
                </a:lnTo>
                <a:lnTo>
                  <a:pt x="450" y="0"/>
                </a:lnTo>
                <a:lnTo>
                  <a:pt x="450" y="0"/>
                </a:lnTo>
                <a:lnTo>
                  <a:pt x="438" y="2"/>
                </a:lnTo>
                <a:lnTo>
                  <a:pt x="424" y="4"/>
                </a:lnTo>
                <a:lnTo>
                  <a:pt x="412" y="10"/>
                </a:lnTo>
                <a:lnTo>
                  <a:pt x="398" y="16"/>
                </a:lnTo>
                <a:lnTo>
                  <a:pt x="386" y="22"/>
                </a:lnTo>
                <a:lnTo>
                  <a:pt x="376" y="32"/>
                </a:lnTo>
                <a:lnTo>
                  <a:pt x="366" y="42"/>
                </a:lnTo>
                <a:lnTo>
                  <a:pt x="358" y="52"/>
                </a:lnTo>
                <a:lnTo>
                  <a:pt x="358" y="52"/>
                </a:lnTo>
                <a:lnTo>
                  <a:pt x="356" y="60"/>
                </a:lnTo>
                <a:lnTo>
                  <a:pt x="354" y="68"/>
                </a:lnTo>
                <a:lnTo>
                  <a:pt x="350" y="90"/>
                </a:lnTo>
                <a:lnTo>
                  <a:pt x="350" y="110"/>
                </a:lnTo>
                <a:lnTo>
                  <a:pt x="350" y="128"/>
                </a:lnTo>
                <a:lnTo>
                  <a:pt x="344" y="132"/>
                </a:lnTo>
                <a:lnTo>
                  <a:pt x="344" y="132"/>
                </a:lnTo>
                <a:lnTo>
                  <a:pt x="344" y="150"/>
                </a:lnTo>
                <a:lnTo>
                  <a:pt x="346" y="168"/>
                </a:lnTo>
                <a:lnTo>
                  <a:pt x="350" y="186"/>
                </a:lnTo>
                <a:lnTo>
                  <a:pt x="356" y="206"/>
                </a:lnTo>
                <a:lnTo>
                  <a:pt x="364" y="212"/>
                </a:lnTo>
                <a:lnTo>
                  <a:pt x="364" y="212"/>
                </a:lnTo>
                <a:lnTo>
                  <a:pt x="370" y="226"/>
                </a:lnTo>
                <a:lnTo>
                  <a:pt x="378" y="242"/>
                </a:lnTo>
                <a:lnTo>
                  <a:pt x="386" y="258"/>
                </a:lnTo>
                <a:lnTo>
                  <a:pt x="398" y="272"/>
                </a:lnTo>
                <a:lnTo>
                  <a:pt x="398" y="272"/>
                </a:lnTo>
                <a:lnTo>
                  <a:pt x="394" y="280"/>
                </a:lnTo>
                <a:lnTo>
                  <a:pt x="386" y="290"/>
                </a:lnTo>
                <a:lnTo>
                  <a:pt x="376" y="298"/>
                </a:lnTo>
                <a:lnTo>
                  <a:pt x="364" y="304"/>
                </a:lnTo>
                <a:lnTo>
                  <a:pt x="364" y="304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US" sz="1662">
              <a:solidFill>
                <a:srgbClr val="2947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20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7323" y="146178"/>
            <a:ext cx="11520000" cy="785818"/>
          </a:xfrm>
        </p:spPr>
        <p:txBody>
          <a:bodyPr>
            <a:normAutofit/>
          </a:bodyPr>
          <a:lstStyle/>
          <a:p>
            <a:pPr algn="ctr"/>
            <a:r>
              <a:rPr lang="ru-RU" sz="3200" cap="all" spc="100" dirty="0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УМО </a:t>
            </a:r>
            <a:r>
              <a:rPr lang="ru-RU" sz="3200" cap="all" spc="1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3200" cap="all" spc="100" dirty="0" err="1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2000" cap="all" spc="100" dirty="0" err="1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3200" cap="all" spc="100" dirty="0" err="1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3200" dirty="0">
              <a:solidFill>
                <a:srgbClr val="2947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5400" y="1412776"/>
            <a:ext cx="11017224" cy="3121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40" lvl="0" indent="-9144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Tw Cen MT" panose="020B0602020104020603" pitchFamily="34" charset="0"/>
              <a:buChar char=" "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Взаимодействуют по определённым Порядком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вопросам: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Согласовани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МунУМО с РУМО кандидатур руководителей МунУМО и членов РУМО от муниципалитета.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Согласовани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планов работы МунУМО с РУМО.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Согласовани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отчётов о проделанной работе МунУМО с РУМО.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Согласовани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Положения о муниципальном учебно-методическом объединении.</a:t>
            </a: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Направлени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на экспертизу в РУМО учебно-методических разработок педагогов муниципального образования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.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marL="285750" lvl="0" indent="-28575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§"/>
            </a:pPr>
            <a:endParaRPr lang="ru-RU" sz="1600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</a:endParaRPr>
          </a:p>
          <a:p>
            <a:pPr lvl="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</a:pP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Руководитель </a:t>
            </a:r>
            <a:r>
              <a:rPr lang="ru-RU" sz="1600" dirty="0" err="1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МунУМО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</a:rPr>
              <a:t> является членом РУМО и участвует в заседаниях РУМО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83432" y="136585"/>
            <a:ext cx="925830" cy="69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794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quarter" idx="15"/>
          </p:nvPr>
        </p:nvSpPr>
        <p:spPr>
          <a:xfrm>
            <a:off x="326851" y="1815337"/>
            <a:ext cx="3648000" cy="4320431"/>
          </a:xfrm>
        </p:spPr>
        <p:txBody>
          <a:bodyPr/>
          <a:lstStyle/>
          <a:p>
            <a:pPr marL="342900" lvl="0" indent="-3429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Взаимодействуют по вопросам реализации и методического сопровождения мероприятий федеральных и региональных проектов и программ</a:t>
            </a:r>
          </a:p>
          <a:p>
            <a:pPr marL="342900" lvl="0" indent="-3429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Обеспечивают функционирование муниципальных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стажировочных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площадок Центра</a:t>
            </a:r>
          </a:p>
          <a:p>
            <a:pPr marL="342900" lvl="0" indent="-3429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Участвуют в формировании муниципального запроса на реализацию дополнительных профессиональных программ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6"/>
          </p:nvPr>
        </p:nvSpPr>
        <p:spPr>
          <a:xfrm>
            <a:off x="4264347" y="1810505"/>
            <a:ext cx="3648000" cy="4330095"/>
          </a:xfrm>
        </p:spPr>
        <p:txBody>
          <a:bodyPr/>
          <a:lstStyle/>
          <a:p>
            <a:pPr marL="342900" lvl="0" indent="-3429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Курируют работу муниципальных предметных методических объединений</a:t>
            </a:r>
          </a:p>
          <a:p>
            <a:pPr marL="342900" lvl="0" indent="-3429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Координируют работу муниципальных методических объединений по предметам и школьных предметных методических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</a:rPr>
              <a:t>объединений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7"/>
          </p:nvPr>
        </p:nvSpPr>
        <p:spPr>
          <a:xfrm>
            <a:off x="8201843" y="1815337"/>
            <a:ext cx="3648000" cy="4320431"/>
          </a:xfrm>
        </p:spPr>
        <p:txBody>
          <a:bodyPr/>
          <a:lstStyle/>
          <a:p>
            <a:pPr marL="571500" lvl="0" indent="-5715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Рекомендуют для подготовки правовой основы деятельности образовательных учреждений необходимый минимум локальных актов, направленных на регулирование методической работы образовательной организации</a:t>
            </a:r>
          </a:p>
          <a:p>
            <a:pPr marL="571500" lvl="0" indent="-5715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Оказывают консультационную и методическую помощь образовательным организациям муниципалитета</a:t>
            </a:r>
          </a:p>
          <a:p>
            <a:pPr marL="571500" lvl="0" indent="-5715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rgbClr val="1CADE4"/>
              </a:buClr>
              <a:buSzPct val="100000"/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Организуют проведение методической экспертизы разработок педагогов на уровне муниципалите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9"/>
          </p:nvPr>
        </p:nvSpPr>
        <p:spPr>
          <a:xfrm>
            <a:off x="334433" y="1137769"/>
            <a:ext cx="3648000" cy="360000"/>
          </a:xfrm>
        </p:spPr>
        <p:txBody>
          <a:bodyPr/>
          <a:lstStyle/>
          <a:p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r>
              <a:rPr lang="ru-RU" sz="1800" cap="all" spc="100" dirty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ЦНППМПР</a:t>
            </a:r>
            <a:endParaRPr lang="ru-RU" sz="1800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20"/>
          </p:nvPr>
        </p:nvSpPr>
        <p:spPr>
          <a:xfrm>
            <a:off x="4299165" y="1137769"/>
            <a:ext cx="3648000" cy="360000"/>
          </a:xfrm>
        </p:spPr>
        <p:txBody>
          <a:bodyPr/>
          <a:lstStyle/>
          <a:p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r>
              <a:rPr lang="ru-RU" sz="1800" cap="all" spc="100" dirty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Пмо</a:t>
            </a:r>
            <a:endParaRPr lang="ru-RU" sz="1800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21"/>
          </p:nvPr>
        </p:nvSpPr>
        <p:spPr>
          <a:xfrm>
            <a:off x="8208000" y="1124695"/>
            <a:ext cx="3648000" cy="360000"/>
          </a:xfrm>
        </p:spPr>
        <p:txBody>
          <a:bodyPr/>
          <a:lstStyle/>
          <a:p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r>
              <a:rPr lang="ru-RU" sz="1800" cap="all" spc="100" dirty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sz="1800" cap="all" spc="100" dirty="0" err="1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нМС</a:t>
            </a:r>
            <a:endParaRPr lang="ru-RU" sz="18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grpSp>
        <p:nvGrpSpPr>
          <p:cNvPr id="12" name="Group 620"/>
          <p:cNvGrpSpPr/>
          <p:nvPr/>
        </p:nvGrpSpPr>
        <p:grpSpPr>
          <a:xfrm>
            <a:off x="1631504" y="4759041"/>
            <a:ext cx="792088" cy="648072"/>
            <a:chOff x="3546475" y="2628901"/>
            <a:chExt cx="658813" cy="430212"/>
          </a:xfrm>
          <a:solidFill>
            <a:srgbClr val="005CAB"/>
          </a:solidFill>
        </p:grpSpPr>
        <p:sp>
          <p:nvSpPr>
            <p:cNvPr id="13" name="Freeform 89"/>
            <p:cNvSpPr>
              <a:spLocks/>
            </p:cNvSpPr>
            <p:nvPr/>
          </p:nvSpPr>
          <p:spPr bwMode="auto">
            <a:xfrm>
              <a:off x="3640138" y="2833688"/>
              <a:ext cx="227013" cy="225425"/>
            </a:xfrm>
            <a:custGeom>
              <a:avLst/>
              <a:gdLst/>
              <a:ahLst/>
              <a:cxnLst>
                <a:cxn ang="0">
                  <a:pos x="7" y="224"/>
                </a:cxn>
                <a:cxn ang="0">
                  <a:pos x="7" y="224"/>
                </a:cxn>
                <a:cxn ang="0">
                  <a:pos x="3" y="222"/>
                </a:cxn>
                <a:cxn ang="0">
                  <a:pos x="1" y="218"/>
                </a:cxn>
                <a:cxn ang="0">
                  <a:pos x="0" y="213"/>
                </a:cxn>
                <a:cxn ang="0">
                  <a:pos x="0" y="208"/>
                </a:cxn>
                <a:cxn ang="0">
                  <a:pos x="29" y="4"/>
                </a:cxn>
                <a:cxn ang="0">
                  <a:pos x="29" y="4"/>
                </a:cxn>
                <a:cxn ang="0">
                  <a:pos x="29" y="1"/>
                </a:cxn>
                <a:cxn ang="0">
                  <a:pos x="30" y="0"/>
                </a:cxn>
                <a:cxn ang="0">
                  <a:pos x="30" y="0"/>
                </a:cxn>
                <a:cxn ang="0">
                  <a:pos x="33" y="0"/>
                </a:cxn>
                <a:cxn ang="0">
                  <a:pos x="33" y="0"/>
                </a:cxn>
                <a:cxn ang="0">
                  <a:pos x="34" y="0"/>
                </a:cxn>
                <a:cxn ang="0">
                  <a:pos x="428" y="165"/>
                </a:cxn>
                <a:cxn ang="0">
                  <a:pos x="428" y="165"/>
                </a:cxn>
                <a:cxn ang="0">
                  <a:pos x="429" y="166"/>
                </a:cxn>
                <a:cxn ang="0">
                  <a:pos x="430" y="169"/>
                </a:cxn>
                <a:cxn ang="0">
                  <a:pos x="430" y="428"/>
                </a:cxn>
                <a:cxn ang="0">
                  <a:pos x="7" y="224"/>
                </a:cxn>
              </a:cxnLst>
              <a:rect l="0" t="0" r="r" b="b"/>
              <a:pathLst>
                <a:path w="430" h="428">
                  <a:moveTo>
                    <a:pt x="7" y="224"/>
                  </a:moveTo>
                  <a:lnTo>
                    <a:pt x="7" y="224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0" y="208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28" y="165"/>
                  </a:lnTo>
                  <a:lnTo>
                    <a:pt x="428" y="165"/>
                  </a:lnTo>
                  <a:lnTo>
                    <a:pt x="429" y="166"/>
                  </a:lnTo>
                  <a:lnTo>
                    <a:pt x="430" y="169"/>
                  </a:lnTo>
                  <a:lnTo>
                    <a:pt x="430" y="428"/>
                  </a:lnTo>
                  <a:lnTo>
                    <a:pt x="7" y="22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4" name="Freeform 90"/>
            <p:cNvSpPr>
              <a:spLocks noEditPoints="1"/>
            </p:cNvSpPr>
            <p:nvPr/>
          </p:nvSpPr>
          <p:spPr bwMode="auto">
            <a:xfrm>
              <a:off x="3859213" y="2757488"/>
              <a:ext cx="200025" cy="249238"/>
            </a:xfrm>
            <a:custGeom>
              <a:avLst/>
              <a:gdLst/>
              <a:ahLst/>
              <a:cxnLst>
                <a:cxn ang="0">
                  <a:pos x="357" y="386"/>
                </a:cxn>
                <a:cxn ang="0">
                  <a:pos x="355" y="381"/>
                </a:cxn>
                <a:cxn ang="0">
                  <a:pos x="355" y="154"/>
                </a:cxn>
                <a:cxn ang="0">
                  <a:pos x="355" y="152"/>
                </a:cxn>
                <a:cxn ang="0">
                  <a:pos x="353" y="145"/>
                </a:cxn>
                <a:cxn ang="0">
                  <a:pos x="348" y="141"/>
                </a:cxn>
                <a:cxn ang="0">
                  <a:pos x="64" y="20"/>
                </a:cxn>
                <a:cxn ang="0">
                  <a:pos x="64" y="19"/>
                </a:cxn>
                <a:cxn ang="0">
                  <a:pos x="62" y="12"/>
                </a:cxn>
                <a:cxn ang="0">
                  <a:pos x="55" y="6"/>
                </a:cxn>
                <a:cxn ang="0">
                  <a:pos x="44" y="2"/>
                </a:cxn>
                <a:cxn ang="0">
                  <a:pos x="31" y="0"/>
                </a:cxn>
                <a:cxn ang="0">
                  <a:pos x="26" y="1"/>
                </a:cxn>
                <a:cxn ang="0">
                  <a:pos x="14" y="4"/>
                </a:cxn>
                <a:cxn ang="0">
                  <a:pos x="4" y="8"/>
                </a:cxn>
                <a:cxn ang="0">
                  <a:pos x="0" y="15"/>
                </a:cxn>
                <a:cxn ang="0">
                  <a:pos x="0" y="19"/>
                </a:cxn>
                <a:cxn ang="0">
                  <a:pos x="2" y="27"/>
                </a:cxn>
                <a:cxn ang="0">
                  <a:pos x="9" y="33"/>
                </a:cxn>
                <a:cxn ang="0">
                  <a:pos x="20" y="36"/>
                </a:cxn>
                <a:cxn ang="0">
                  <a:pos x="31" y="38"/>
                </a:cxn>
                <a:cxn ang="0">
                  <a:pos x="42" y="38"/>
                </a:cxn>
                <a:cxn ang="0">
                  <a:pos x="330" y="159"/>
                </a:cxn>
                <a:cxn ang="0">
                  <a:pos x="333" y="163"/>
                </a:cxn>
                <a:cxn ang="0">
                  <a:pos x="333" y="381"/>
                </a:cxn>
                <a:cxn ang="0">
                  <a:pos x="332" y="383"/>
                </a:cxn>
                <a:cxn ang="0">
                  <a:pos x="329" y="386"/>
                </a:cxn>
                <a:cxn ang="0">
                  <a:pos x="321" y="392"/>
                </a:cxn>
                <a:cxn ang="0">
                  <a:pos x="312" y="409"/>
                </a:cxn>
                <a:cxn ang="0">
                  <a:pos x="310" y="420"/>
                </a:cxn>
                <a:cxn ang="0">
                  <a:pos x="310" y="458"/>
                </a:cxn>
                <a:cxn ang="0">
                  <a:pos x="313" y="468"/>
                </a:cxn>
                <a:cxn ang="0">
                  <a:pos x="321" y="471"/>
                </a:cxn>
                <a:cxn ang="0">
                  <a:pos x="366" y="471"/>
                </a:cxn>
                <a:cxn ang="0">
                  <a:pos x="374" y="468"/>
                </a:cxn>
                <a:cxn ang="0">
                  <a:pos x="377" y="458"/>
                </a:cxn>
                <a:cxn ang="0">
                  <a:pos x="377" y="420"/>
                </a:cxn>
                <a:cxn ang="0">
                  <a:pos x="376" y="409"/>
                </a:cxn>
                <a:cxn ang="0">
                  <a:pos x="366" y="392"/>
                </a:cxn>
                <a:cxn ang="0">
                  <a:pos x="357" y="386"/>
                </a:cxn>
                <a:cxn ang="0">
                  <a:pos x="343" y="437"/>
                </a:cxn>
                <a:cxn ang="0">
                  <a:pos x="340" y="437"/>
                </a:cxn>
                <a:cxn ang="0">
                  <a:pos x="333" y="433"/>
                </a:cxn>
                <a:cxn ang="0">
                  <a:pos x="328" y="420"/>
                </a:cxn>
                <a:cxn ang="0">
                  <a:pos x="329" y="413"/>
                </a:cxn>
                <a:cxn ang="0">
                  <a:pos x="337" y="403"/>
                </a:cxn>
                <a:cxn ang="0">
                  <a:pos x="343" y="402"/>
                </a:cxn>
                <a:cxn ang="0">
                  <a:pos x="347" y="402"/>
                </a:cxn>
                <a:cxn ang="0">
                  <a:pos x="355" y="407"/>
                </a:cxn>
                <a:cxn ang="0">
                  <a:pos x="360" y="420"/>
                </a:cxn>
                <a:cxn ang="0">
                  <a:pos x="359" y="427"/>
                </a:cxn>
                <a:cxn ang="0">
                  <a:pos x="349" y="436"/>
                </a:cxn>
                <a:cxn ang="0">
                  <a:pos x="343" y="437"/>
                </a:cxn>
              </a:cxnLst>
              <a:rect l="0" t="0" r="r" b="b"/>
              <a:pathLst>
                <a:path w="377" h="471">
                  <a:moveTo>
                    <a:pt x="357" y="386"/>
                  </a:moveTo>
                  <a:lnTo>
                    <a:pt x="357" y="386"/>
                  </a:lnTo>
                  <a:lnTo>
                    <a:pt x="355" y="383"/>
                  </a:lnTo>
                  <a:lnTo>
                    <a:pt x="355" y="381"/>
                  </a:lnTo>
                  <a:lnTo>
                    <a:pt x="355" y="184"/>
                  </a:lnTo>
                  <a:lnTo>
                    <a:pt x="355" y="154"/>
                  </a:lnTo>
                  <a:lnTo>
                    <a:pt x="355" y="152"/>
                  </a:lnTo>
                  <a:lnTo>
                    <a:pt x="355" y="152"/>
                  </a:lnTo>
                  <a:lnTo>
                    <a:pt x="354" y="149"/>
                  </a:lnTo>
                  <a:lnTo>
                    <a:pt x="353" y="145"/>
                  </a:lnTo>
                  <a:lnTo>
                    <a:pt x="350" y="143"/>
                  </a:lnTo>
                  <a:lnTo>
                    <a:pt x="348" y="141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5"/>
                  </a:lnTo>
                  <a:lnTo>
                    <a:pt x="62" y="12"/>
                  </a:lnTo>
                  <a:lnTo>
                    <a:pt x="58" y="8"/>
                  </a:lnTo>
                  <a:lnTo>
                    <a:pt x="55" y="6"/>
                  </a:lnTo>
                  <a:lnTo>
                    <a:pt x="50" y="4"/>
                  </a:lnTo>
                  <a:lnTo>
                    <a:pt x="44" y="2"/>
                  </a:lnTo>
                  <a:lnTo>
                    <a:pt x="38" y="1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6" y="1"/>
                  </a:lnTo>
                  <a:lnTo>
                    <a:pt x="20" y="2"/>
                  </a:lnTo>
                  <a:lnTo>
                    <a:pt x="14" y="4"/>
                  </a:lnTo>
                  <a:lnTo>
                    <a:pt x="9" y="6"/>
                  </a:lnTo>
                  <a:lnTo>
                    <a:pt x="4" y="8"/>
                  </a:lnTo>
                  <a:lnTo>
                    <a:pt x="2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2" y="27"/>
                  </a:lnTo>
                  <a:lnTo>
                    <a:pt x="4" y="29"/>
                  </a:lnTo>
                  <a:lnTo>
                    <a:pt x="9" y="33"/>
                  </a:lnTo>
                  <a:lnTo>
                    <a:pt x="14" y="35"/>
                  </a:lnTo>
                  <a:lnTo>
                    <a:pt x="20" y="36"/>
                  </a:lnTo>
                  <a:lnTo>
                    <a:pt x="26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42" y="38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2" y="161"/>
                  </a:lnTo>
                  <a:lnTo>
                    <a:pt x="333" y="163"/>
                  </a:lnTo>
                  <a:lnTo>
                    <a:pt x="333" y="193"/>
                  </a:lnTo>
                  <a:lnTo>
                    <a:pt x="333" y="381"/>
                  </a:lnTo>
                  <a:lnTo>
                    <a:pt x="333" y="381"/>
                  </a:lnTo>
                  <a:lnTo>
                    <a:pt x="332" y="383"/>
                  </a:lnTo>
                  <a:lnTo>
                    <a:pt x="329" y="386"/>
                  </a:lnTo>
                  <a:lnTo>
                    <a:pt x="329" y="386"/>
                  </a:lnTo>
                  <a:lnTo>
                    <a:pt x="326" y="388"/>
                  </a:lnTo>
                  <a:lnTo>
                    <a:pt x="321" y="392"/>
                  </a:lnTo>
                  <a:lnTo>
                    <a:pt x="315" y="400"/>
                  </a:lnTo>
                  <a:lnTo>
                    <a:pt x="312" y="409"/>
                  </a:lnTo>
                  <a:lnTo>
                    <a:pt x="310" y="414"/>
                  </a:lnTo>
                  <a:lnTo>
                    <a:pt x="310" y="420"/>
                  </a:lnTo>
                  <a:lnTo>
                    <a:pt x="310" y="458"/>
                  </a:lnTo>
                  <a:lnTo>
                    <a:pt x="310" y="458"/>
                  </a:lnTo>
                  <a:lnTo>
                    <a:pt x="310" y="463"/>
                  </a:lnTo>
                  <a:lnTo>
                    <a:pt x="313" y="468"/>
                  </a:lnTo>
                  <a:lnTo>
                    <a:pt x="316" y="470"/>
                  </a:lnTo>
                  <a:lnTo>
                    <a:pt x="321" y="471"/>
                  </a:lnTo>
                  <a:lnTo>
                    <a:pt x="366" y="471"/>
                  </a:lnTo>
                  <a:lnTo>
                    <a:pt x="366" y="471"/>
                  </a:lnTo>
                  <a:lnTo>
                    <a:pt x="370" y="470"/>
                  </a:lnTo>
                  <a:lnTo>
                    <a:pt x="374" y="468"/>
                  </a:lnTo>
                  <a:lnTo>
                    <a:pt x="376" y="463"/>
                  </a:lnTo>
                  <a:lnTo>
                    <a:pt x="377" y="458"/>
                  </a:lnTo>
                  <a:lnTo>
                    <a:pt x="377" y="420"/>
                  </a:lnTo>
                  <a:lnTo>
                    <a:pt x="377" y="420"/>
                  </a:lnTo>
                  <a:lnTo>
                    <a:pt x="377" y="414"/>
                  </a:lnTo>
                  <a:lnTo>
                    <a:pt x="376" y="409"/>
                  </a:lnTo>
                  <a:lnTo>
                    <a:pt x="371" y="400"/>
                  </a:lnTo>
                  <a:lnTo>
                    <a:pt x="366" y="392"/>
                  </a:lnTo>
                  <a:lnTo>
                    <a:pt x="362" y="388"/>
                  </a:lnTo>
                  <a:lnTo>
                    <a:pt x="357" y="386"/>
                  </a:lnTo>
                  <a:lnTo>
                    <a:pt x="357" y="386"/>
                  </a:lnTo>
                  <a:close/>
                  <a:moveTo>
                    <a:pt x="343" y="437"/>
                  </a:moveTo>
                  <a:lnTo>
                    <a:pt x="343" y="437"/>
                  </a:lnTo>
                  <a:lnTo>
                    <a:pt x="340" y="437"/>
                  </a:lnTo>
                  <a:lnTo>
                    <a:pt x="337" y="436"/>
                  </a:lnTo>
                  <a:lnTo>
                    <a:pt x="333" y="433"/>
                  </a:lnTo>
                  <a:lnTo>
                    <a:pt x="329" y="427"/>
                  </a:lnTo>
                  <a:lnTo>
                    <a:pt x="328" y="420"/>
                  </a:lnTo>
                  <a:lnTo>
                    <a:pt x="328" y="420"/>
                  </a:lnTo>
                  <a:lnTo>
                    <a:pt x="329" y="413"/>
                  </a:lnTo>
                  <a:lnTo>
                    <a:pt x="333" y="407"/>
                  </a:lnTo>
                  <a:lnTo>
                    <a:pt x="337" y="403"/>
                  </a:lnTo>
                  <a:lnTo>
                    <a:pt x="340" y="402"/>
                  </a:lnTo>
                  <a:lnTo>
                    <a:pt x="343" y="402"/>
                  </a:lnTo>
                  <a:lnTo>
                    <a:pt x="343" y="402"/>
                  </a:lnTo>
                  <a:lnTo>
                    <a:pt x="347" y="402"/>
                  </a:lnTo>
                  <a:lnTo>
                    <a:pt x="349" y="403"/>
                  </a:lnTo>
                  <a:lnTo>
                    <a:pt x="355" y="407"/>
                  </a:lnTo>
                  <a:lnTo>
                    <a:pt x="359" y="413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7"/>
                  </a:lnTo>
                  <a:lnTo>
                    <a:pt x="355" y="433"/>
                  </a:lnTo>
                  <a:lnTo>
                    <a:pt x="349" y="436"/>
                  </a:lnTo>
                  <a:lnTo>
                    <a:pt x="347" y="437"/>
                  </a:lnTo>
                  <a:lnTo>
                    <a:pt x="343" y="437"/>
                  </a:lnTo>
                  <a:lnTo>
                    <a:pt x="343" y="43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5" name="Freeform 91"/>
            <p:cNvSpPr>
              <a:spLocks/>
            </p:cNvSpPr>
            <p:nvPr/>
          </p:nvSpPr>
          <p:spPr bwMode="auto">
            <a:xfrm>
              <a:off x="3546475" y="2628901"/>
              <a:ext cx="658813" cy="276225"/>
            </a:xfrm>
            <a:custGeom>
              <a:avLst/>
              <a:gdLst/>
              <a:ahLst/>
              <a:cxnLst>
                <a:cxn ang="0">
                  <a:pos x="622" y="523"/>
                </a:cxn>
                <a:cxn ang="0">
                  <a:pos x="2" y="265"/>
                </a:cxn>
                <a:cxn ang="0">
                  <a:pos x="1" y="264"/>
                </a:cxn>
                <a:cxn ang="0">
                  <a:pos x="0" y="262"/>
                </a:cxn>
                <a:cxn ang="0">
                  <a:pos x="2" y="259"/>
                </a:cxn>
                <a:cxn ang="0">
                  <a:pos x="617" y="2"/>
                </a:cxn>
                <a:cxn ang="0">
                  <a:pos x="622" y="0"/>
                </a:cxn>
                <a:cxn ang="0">
                  <a:pos x="1243" y="259"/>
                </a:cxn>
                <a:cxn ang="0">
                  <a:pos x="1245" y="261"/>
                </a:cxn>
                <a:cxn ang="0">
                  <a:pos x="1245" y="262"/>
                </a:cxn>
                <a:cxn ang="0">
                  <a:pos x="1243" y="265"/>
                </a:cxn>
                <a:cxn ang="0">
                  <a:pos x="962" y="383"/>
                </a:cxn>
                <a:cxn ang="0">
                  <a:pos x="962" y="383"/>
                </a:cxn>
                <a:cxn ang="0">
                  <a:pos x="961" y="383"/>
                </a:cxn>
                <a:cxn ang="0">
                  <a:pos x="955" y="373"/>
                </a:cxn>
                <a:cxn ang="0">
                  <a:pos x="946" y="366"/>
                </a:cxn>
                <a:cxn ang="0">
                  <a:pos x="683" y="255"/>
                </a:cxn>
                <a:cxn ang="0">
                  <a:pos x="676" y="243"/>
                </a:cxn>
                <a:cxn ang="0">
                  <a:pos x="662" y="234"/>
                </a:cxn>
                <a:cxn ang="0">
                  <a:pos x="645" y="228"/>
                </a:cxn>
                <a:cxn ang="0">
                  <a:pos x="622" y="225"/>
                </a:cxn>
                <a:cxn ang="0">
                  <a:pos x="611" y="225"/>
                </a:cxn>
                <a:cxn ang="0">
                  <a:pos x="588" y="231"/>
                </a:cxn>
                <a:cxn ang="0">
                  <a:pos x="571" y="242"/>
                </a:cxn>
                <a:cxn ang="0">
                  <a:pos x="561" y="255"/>
                </a:cxn>
                <a:cxn ang="0">
                  <a:pos x="560" y="262"/>
                </a:cxn>
                <a:cxn ang="0">
                  <a:pos x="564" y="275"/>
                </a:cxn>
                <a:cxn ang="0">
                  <a:pos x="576" y="286"/>
                </a:cxn>
                <a:cxn ang="0">
                  <a:pos x="591" y="295"/>
                </a:cxn>
                <a:cxn ang="0">
                  <a:pos x="612" y="298"/>
                </a:cxn>
                <a:cxn ang="0">
                  <a:pos x="622" y="299"/>
                </a:cxn>
                <a:cxn ang="0">
                  <a:pos x="631" y="299"/>
                </a:cxn>
                <a:cxn ang="0">
                  <a:pos x="893" y="412"/>
                </a:cxn>
                <a:cxn ang="0">
                  <a:pos x="628" y="522"/>
                </a:cxn>
                <a:cxn ang="0">
                  <a:pos x="622" y="523"/>
                </a:cxn>
              </a:cxnLst>
              <a:rect l="0" t="0" r="r" b="b"/>
              <a:pathLst>
                <a:path w="1245" h="523">
                  <a:moveTo>
                    <a:pt x="622" y="523"/>
                  </a:moveTo>
                  <a:lnTo>
                    <a:pt x="622" y="523"/>
                  </a:lnTo>
                  <a:lnTo>
                    <a:pt x="617" y="522"/>
                  </a:lnTo>
                  <a:lnTo>
                    <a:pt x="2" y="265"/>
                  </a:lnTo>
                  <a:lnTo>
                    <a:pt x="2" y="265"/>
                  </a:lnTo>
                  <a:lnTo>
                    <a:pt x="1" y="264"/>
                  </a:lnTo>
                  <a:lnTo>
                    <a:pt x="0" y="262"/>
                  </a:lnTo>
                  <a:lnTo>
                    <a:pt x="0" y="262"/>
                  </a:lnTo>
                  <a:lnTo>
                    <a:pt x="1" y="261"/>
                  </a:lnTo>
                  <a:lnTo>
                    <a:pt x="2" y="259"/>
                  </a:lnTo>
                  <a:lnTo>
                    <a:pt x="617" y="2"/>
                  </a:lnTo>
                  <a:lnTo>
                    <a:pt x="617" y="2"/>
                  </a:lnTo>
                  <a:lnTo>
                    <a:pt x="622" y="0"/>
                  </a:lnTo>
                  <a:lnTo>
                    <a:pt x="622" y="0"/>
                  </a:lnTo>
                  <a:lnTo>
                    <a:pt x="628" y="2"/>
                  </a:lnTo>
                  <a:lnTo>
                    <a:pt x="1243" y="259"/>
                  </a:lnTo>
                  <a:lnTo>
                    <a:pt x="1243" y="259"/>
                  </a:lnTo>
                  <a:lnTo>
                    <a:pt x="1245" y="261"/>
                  </a:lnTo>
                  <a:lnTo>
                    <a:pt x="1245" y="262"/>
                  </a:lnTo>
                  <a:lnTo>
                    <a:pt x="1245" y="262"/>
                  </a:lnTo>
                  <a:lnTo>
                    <a:pt x="1245" y="264"/>
                  </a:lnTo>
                  <a:lnTo>
                    <a:pt x="1243" y="265"/>
                  </a:lnTo>
                  <a:lnTo>
                    <a:pt x="962" y="383"/>
                  </a:lnTo>
                  <a:lnTo>
                    <a:pt x="962" y="383"/>
                  </a:lnTo>
                  <a:lnTo>
                    <a:pt x="962" y="383"/>
                  </a:lnTo>
                  <a:lnTo>
                    <a:pt x="962" y="383"/>
                  </a:lnTo>
                  <a:lnTo>
                    <a:pt x="961" y="383"/>
                  </a:lnTo>
                  <a:lnTo>
                    <a:pt x="961" y="383"/>
                  </a:lnTo>
                  <a:lnTo>
                    <a:pt x="959" y="377"/>
                  </a:lnTo>
                  <a:lnTo>
                    <a:pt x="955" y="373"/>
                  </a:lnTo>
                  <a:lnTo>
                    <a:pt x="951" y="370"/>
                  </a:lnTo>
                  <a:lnTo>
                    <a:pt x="946" y="366"/>
                  </a:lnTo>
                  <a:lnTo>
                    <a:pt x="683" y="255"/>
                  </a:lnTo>
                  <a:lnTo>
                    <a:pt x="683" y="255"/>
                  </a:lnTo>
                  <a:lnTo>
                    <a:pt x="681" y="249"/>
                  </a:lnTo>
                  <a:lnTo>
                    <a:pt x="676" y="243"/>
                  </a:lnTo>
                  <a:lnTo>
                    <a:pt x="669" y="238"/>
                  </a:lnTo>
                  <a:lnTo>
                    <a:pt x="662" y="234"/>
                  </a:lnTo>
                  <a:lnTo>
                    <a:pt x="654" y="230"/>
                  </a:lnTo>
                  <a:lnTo>
                    <a:pt x="645" y="228"/>
                  </a:lnTo>
                  <a:lnTo>
                    <a:pt x="634" y="225"/>
                  </a:lnTo>
                  <a:lnTo>
                    <a:pt x="622" y="225"/>
                  </a:lnTo>
                  <a:lnTo>
                    <a:pt x="622" y="225"/>
                  </a:lnTo>
                  <a:lnTo>
                    <a:pt x="611" y="225"/>
                  </a:lnTo>
                  <a:lnTo>
                    <a:pt x="599" y="228"/>
                  </a:lnTo>
                  <a:lnTo>
                    <a:pt x="588" y="231"/>
                  </a:lnTo>
                  <a:lnTo>
                    <a:pt x="579" y="236"/>
                  </a:lnTo>
                  <a:lnTo>
                    <a:pt x="571" y="242"/>
                  </a:lnTo>
                  <a:lnTo>
                    <a:pt x="565" y="248"/>
                  </a:lnTo>
                  <a:lnTo>
                    <a:pt x="561" y="255"/>
                  </a:lnTo>
                  <a:lnTo>
                    <a:pt x="560" y="262"/>
                  </a:lnTo>
                  <a:lnTo>
                    <a:pt x="560" y="262"/>
                  </a:lnTo>
                  <a:lnTo>
                    <a:pt x="561" y="269"/>
                  </a:lnTo>
                  <a:lnTo>
                    <a:pt x="564" y="275"/>
                  </a:lnTo>
                  <a:lnTo>
                    <a:pt x="568" y="281"/>
                  </a:lnTo>
                  <a:lnTo>
                    <a:pt x="576" y="286"/>
                  </a:lnTo>
                  <a:lnTo>
                    <a:pt x="583" y="291"/>
                  </a:lnTo>
                  <a:lnTo>
                    <a:pt x="591" y="295"/>
                  </a:lnTo>
                  <a:lnTo>
                    <a:pt x="601" y="297"/>
                  </a:lnTo>
                  <a:lnTo>
                    <a:pt x="612" y="298"/>
                  </a:lnTo>
                  <a:lnTo>
                    <a:pt x="612" y="298"/>
                  </a:lnTo>
                  <a:lnTo>
                    <a:pt x="622" y="299"/>
                  </a:lnTo>
                  <a:lnTo>
                    <a:pt x="622" y="299"/>
                  </a:lnTo>
                  <a:lnTo>
                    <a:pt x="631" y="299"/>
                  </a:lnTo>
                  <a:lnTo>
                    <a:pt x="893" y="411"/>
                  </a:lnTo>
                  <a:lnTo>
                    <a:pt x="893" y="412"/>
                  </a:lnTo>
                  <a:lnTo>
                    <a:pt x="628" y="522"/>
                  </a:lnTo>
                  <a:lnTo>
                    <a:pt x="628" y="522"/>
                  </a:lnTo>
                  <a:lnTo>
                    <a:pt x="622" y="523"/>
                  </a:lnTo>
                  <a:lnTo>
                    <a:pt x="622" y="52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6" name="Freeform 92"/>
            <p:cNvSpPr>
              <a:spLocks/>
            </p:cNvSpPr>
            <p:nvPr/>
          </p:nvSpPr>
          <p:spPr bwMode="auto">
            <a:xfrm>
              <a:off x="4056063" y="2833688"/>
              <a:ext cx="55563" cy="136525"/>
            </a:xfrm>
            <a:custGeom>
              <a:avLst/>
              <a:gdLst/>
              <a:ahLst/>
              <a:cxnLst>
                <a:cxn ang="0">
                  <a:pos x="22" y="260"/>
                </a:cxn>
                <a:cxn ang="0">
                  <a:pos x="22" y="260"/>
                </a:cxn>
                <a:cxn ang="0">
                  <a:pos x="18" y="251"/>
                </a:cxn>
                <a:cxn ang="0">
                  <a:pos x="15" y="242"/>
                </a:cxn>
                <a:cxn ang="0">
                  <a:pos x="9" y="233"/>
                </a:cxn>
                <a:cxn ang="0">
                  <a:pos x="1" y="226"/>
                </a:cxn>
                <a:cxn ang="0">
                  <a:pos x="1" y="226"/>
                </a:cxn>
                <a:cxn ang="0">
                  <a:pos x="0" y="224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1" y="31"/>
                </a:cxn>
                <a:cxn ang="0">
                  <a:pos x="2" y="29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72" y="0"/>
                </a:cxn>
                <a:cxn ang="0">
                  <a:pos x="72" y="0"/>
                </a:cxn>
                <a:cxn ang="0">
                  <a:pos x="73" y="0"/>
                </a:cxn>
                <a:cxn ang="0">
                  <a:pos x="73" y="0"/>
                </a:cxn>
                <a:cxn ang="0">
                  <a:pos x="76" y="2"/>
                </a:cxn>
                <a:cxn ang="0">
                  <a:pos x="105" y="208"/>
                </a:cxn>
                <a:cxn ang="0">
                  <a:pos x="105" y="208"/>
                </a:cxn>
                <a:cxn ang="0">
                  <a:pos x="105" y="213"/>
                </a:cxn>
                <a:cxn ang="0">
                  <a:pos x="104" y="218"/>
                </a:cxn>
                <a:cxn ang="0">
                  <a:pos x="100" y="222"/>
                </a:cxn>
                <a:cxn ang="0">
                  <a:pos x="97" y="224"/>
                </a:cxn>
                <a:cxn ang="0">
                  <a:pos x="22" y="260"/>
                </a:cxn>
              </a:cxnLst>
              <a:rect l="0" t="0" r="r" b="b"/>
              <a:pathLst>
                <a:path w="105" h="260">
                  <a:moveTo>
                    <a:pt x="22" y="260"/>
                  </a:moveTo>
                  <a:lnTo>
                    <a:pt x="22" y="260"/>
                  </a:lnTo>
                  <a:lnTo>
                    <a:pt x="18" y="251"/>
                  </a:lnTo>
                  <a:lnTo>
                    <a:pt x="15" y="242"/>
                  </a:lnTo>
                  <a:lnTo>
                    <a:pt x="9" y="233"/>
                  </a:lnTo>
                  <a:lnTo>
                    <a:pt x="1" y="226"/>
                  </a:lnTo>
                  <a:lnTo>
                    <a:pt x="1" y="226"/>
                  </a:lnTo>
                  <a:lnTo>
                    <a:pt x="0" y="224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1"/>
                  </a:lnTo>
                  <a:lnTo>
                    <a:pt x="2" y="29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6" y="2"/>
                  </a:lnTo>
                  <a:lnTo>
                    <a:pt x="105" y="208"/>
                  </a:lnTo>
                  <a:lnTo>
                    <a:pt x="105" y="208"/>
                  </a:lnTo>
                  <a:lnTo>
                    <a:pt x="105" y="213"/>
                  </a:lnTo>
                  <a:lnTo>
                    <a:pt x="104" y="218"/>
                  </a:lnTo>
                  <a:lnTo>
                    <a:pt x="100" y="222"/>
                  </a:lnTo>
                  <a:lnTo>
                    <a:pt x="97" y="224"/>
                  </a:lnTo>
                  <a:lnTo>
                    <a:pt x="22" y="26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17" name="Freeform 93"/>
            <p:cNvSpPr>
              <a:spLocks/>
            </p:cNvSpPr>
            <p:nvPr/>
          </p:nvSpPr>
          <p:spPr bwMode="auto">
            <a:xfrm>
              <a:off x="3884613" y="2862263"/>
              <a:ext cx="141288" cy="196850"/>
            </a:xfrm>
            <a:custGeom>
              <a:avLst/>
              <a:gdLst/>
              <a:ahLst/>
              <a:cxnLst>
                <a:cxn ang="0">
                  <a:pos x="0" y="114"/>
                </a:cxn>
                <a:cxn ang="0">
                  <a:pos x="0" y="114"/>
                </a:cxn>
                <a:cxn ang="0">
                  <a:pos x="0" y="111"/>
                </a:cxn>
                <a:cxn ang="0">
                  <a:pos x="2" y="110"/>
                </a:cxn>
                <a:cxn ang="0">
                  <a:pos x="265" y="0"/>
                </a:cxn>
                <a:cxn ang="0">
                  <a:pos x="266" y="0"/>
                </a:cxn>
                <a:cxn ang="0">
                  <a:pos x="266" y="0"/>
                </a:cxn>
                <a:cxn ang="0">
                  <a:pos x="266" y="0"/>
                </a:cxn>
                <a:cxn ang="0">
                  <a:pos x="266" y="169"/>
                </a:cxn>
                <a:cxn ang="0">
                  <a:pos x="266" y="169"/>
                </a:cxn>
                <a:cxn ang="0">
                  <a:pos x="265" y="171"/>
                </a:cxn>
                <a:cxn ang="0">
                  <a:pos x="265" y="171"/>
                </a:cxn>
                <a:cxn ang="0">
                  <a:pos x="260" y="176"/>
                </a:cxn>
                <a:cxn ang="0">
                  <a:pos x="255" y="181"/>
                </a:cxn>
                <a:cxn ang="0">
                  <a:pos x="252" y="185"/>
                </a:cxn>
                <a:cxn ang="0">
                  <a:pos x="250" y="191"/>
                </a:cxn>
                <a:cxn ang="0">
                  <a:pos x="246" y="197"/>
                </a:cxn>
                <a:cxn ang="0">
                  <a:pos x="245" y="203"/>
                </a:cxn>
                <a:cxn ang="0">
                  <a:pos x="244" y="210"/>
                </a:cxn>
                <a:cxn ang="0">
                  <a:pos x="244" y="217"/>
                </a:cxn>
                <a:cxn ang="0">
                  <a:pos x="244" y="217"/>
                </a:cxn>
                <a:cxn ang="0">
                  <a:pos x="244" y="256"/>
                </a:cxn>
                <a:cxn ang="0">
                  <a:pos x="0" y="373"/>
                </a:cxn>
                <a:cxn ang="0">
                  <a:pos x="0" y="114"/>
                </a:cxn>
              </a:cxnLst>
              <a:rect l="0" t="0" r="r" b="b"/>
              <a:pathLst>
                <a:path w="266" h="373">
                  <a:moveTo>
                    <a:pt x="0" y="114"/>
                  </a:moveTo>
                  <a:lnTo>
                    <a:pt x="0" y="114"/>
                  </a:lnTo>
                  <a:lnTo>
                    <a:pt x="0" y="111"/>
                  </a:lnTo>
                  <a:lnTo>
                    <a:pt x="2" y="110"/>
                  </a:lnTo>
                  <a:lnTo>
                    <a:pt x="265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66" y="169"/>
                  </a:lnTo>
                  <a:lnTo>
                    <a:pt x="266" y="169"/>
                  </a:lnTo>
                  <a:lnTo>
                    <a:pt x="265" y="171"/>
                  </a:lnTo>
                  <a:lnTo>
                    <a:pt x="265" y="171"/>
                  </a:lnTo>
                  <a:lnTo>
                    <a:pt x="260" y="176"/>
                  </a:lnTo>
                  <a:lnTo>
                    <a:pt x="255" y="181"/>
                  </a:lnTo>
                  <a:lnTo>
                    <a:pt x="252" y="185"/>
                  </a:lnTo>
                  <a:lnTo>
                    <a:pt x="250" y="191"/>
                  </a:lnTo>
                  <a:lnTo>
                    <a:pt x="246" y="197"/>
                  </a:lnTo>
                  <a:lnTo>
                    <a:pt x="245" y="203"/>
                  </a:lnTo>
                  <a:lnTo>
                    <a:pt x="244" y="210"/>
                  </a:lnTo>
                  <a:lnTo>
                    <a:pt x="244" y="217"/>
                  </a:lnTo>
                  <a:lnTo>
                    <a:pt x="244" y="217"/>
                  </a:lnTo>
                  <a:lnTo>
                    <a:pt x="244" y="256"/>
                  </a:lnTo>
                  <a:lnTo>
                    <a:pt x="0" y="373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grpSp>
        <p:nvGrpSpPr>
          <p:cNvPr id="24" name="Group 325"/>
          <p:cNvGrpSpPr/>
          <p:nvPr/>
        </p:nvGrpSpPr>
        <p:grpSpPr>
          <a:xfrm>
            <a:off x="5598807" y="4780942"/>
            <a:ext cx="794176" cy="612147"/>
            <a:chOff x="2913757" y="5069682"/>
            <a:chExt cx="559793" cy="482402"/>
          </a:xfrm>
          <a:solidFill>
            <a:srgbClr val="005CAB"/>
          </a:solidFill>
        </p:grpSpPr>
        <p:sp>
          <p:nvSpPr>
            <p:cNvPr id="25" name="Freeform 49"/>
            <p:cNvSpPr>
              <a:spLocks/>
            </p:cNvSpPr>
            <p:nvPr/>
          </p:nvSpPr>
          <p:spPr bwMode="auto">
            <a:xfrm>
              <a:off x="3228481" y="5339260"/>
              <a:ext cx="174129" cy="29667"/>
            </a:xfrm>
            <a:custGeom>
              <a:avLst/>
              <a:gdLst>
                <a:gd name="T0" fmla="*/ 55 w 57"/>
                <a:gd name="T1" fmla="*/ 10 h 10"/>
                <a:gd name="T2" fmla="*/ 57 w 57"/>
                <a:gd name="T3" fmla="*/ 8 h 10"/>
                <a:gd name="T4" fmla="*/ 55 w 57"/>
                <a:gd name="T5" fmla="*/ 2 h 10"/>
                <a:gd name="T6" fmla="*/ 53 w 57"/>
                <a:gd name="T7" fmla="*/ 0 h 10"/>
                <a:gd name="T8" fmla="*/ 4 w 57"/>
                <a:gd name="T9" fmla="*/ 0 h 10"/>
                <a:gd name="T10" fmla="*/ 2 w 57"/>
                <a:gd name="T11" fmla="*/ 2 h 10"/>
                <a:gd name="T12" fmla="*/ 0 w 57"/>
                <a:gd name="T13" fmla="*/ 8 h 10"/>
                <a:gd name="T14" fmla="*/ 2 w 57"/>
                <a:gd name="T15" fmla="*/ 10 h 10"/>
                <a:gd name="T16" fmla="*/ 55 w 57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10">
                  <a:moveTo>
                    <a:pt x="55" y="10"/>
                  </a:moveTo>
                  <a:cubicBezTo>
                    <a:pt x="56" y="10"/>
                    <a:pt x="57" y="9"/>
                    <a:pt x="57" y="8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1"/>
                    <a:pt x="54" y="0"/>
                    <a:pt x="53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1"/>
                    <a:pt x="2" y="2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9"/>
                    <a:pt x="1" y="10"/>
                    <a:pt x="2" y="10"/>
                  </a:cubicBezTo>
                  <a:cubicBezTo>
                    <a:pt x="36" y="10"/>
                    <a:pt x="22" y="10"/>
                    <a:pt x="5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6" name="Freeform 50"/>
            <p:cNvSpPr>
              <a:spLocks/>
            </p:cNvSpPr>
            <p:nvPr/>
          </p:nvSpPr>
          <p:spPr bwMode="auto">
            <a:xfrm>
              <a:off x="2920206" y="5085161"/>
              <a:ext cx="283766" cy="167680"/>
            </a:xfrm>
            <a:custGeom>
              <a:avLst/>
              <a:gdLst>
                <a:gd name="T0" fmla="*/ 18 w 93"/>
                <a:gd name="T1" fmla="*/ 53 h 55"/>
                <a:gd name="T2" fmla="*/ 18 w 93"/>
                <a:gd name="T3" fmla="*/ 50 h 55"/>
                <a:gd name="T4" fmla="*/ 28 w 93"/>
                <a:gd name="T5" fmla="*/ 18 h 55"/>
                <a:gd name="T6" fmla="*/ 65 w 93"/>
                <a:gd name="T7" fmla="*/ 18 h 55"/>
                <a:gd name="T8" fmla="*/ 75 w 93"/>
                <a:gd name="T9" fmla="*/ 50 h 55"/>
                <a:gd name="T10" fmla="*/ 77 w 93"/>
                <a:gd name="T11" fmla="*/ 54 h 55"/>
                <a:gd name="T12" fmla="*/ 86 w 93"/>
                <a:gd name="T13" fmla="*/ 36 h 55"/>
                <a:gd name="T14" fmla="*/ 79 w 93"/>
                <a:gd name="T15" fmla="*/ 32 h 55"/>
                <a:gd name="T16" fmla="*/ 14 w 93"/>
                <a:gd name="T17" fmla="*/ 32 h 55"/>
                <a:gd name="T18" fmla="*/ 7 w 93"/>
                <a:gd name="T19" fmla="*/ 36 h 55"/>
                <a:gd name="T20" fmla="*/ 15 w 93"/>
                <a:gd name="T21" fmla="*/ 54 h 55"/>
                <a:gd name="T22" fmla="*/ 18 w 93"/>
                <a:gd name="T23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3" h="55">
                  <a:moveTo>
                    <a:pt x="18" y="53"/>
                  </a:moveTo>
                  <a:cubicBezTo>
                    <a:pt x="18" y="52"/>
                    <a:pt x="19" y="51"/>
                    <a:pt x="18" y="50"/>
                  </a:cubicBezTo>
                  <a:cubicBezTo>
                    <a:pt x="15" y="38"/>
                    <a:pt x="18" y="26"/>
                    <a:pt x="28" y="18"/>
                  </a:cubicBezTo>
                  <a:cubicBezTo>
                    <a:pt x="39" y="9"/>
                    <a:pt x="54" y="9"/>
                    <a:pt x="65" y="18"/>
                  </a:cubicBezTo>
                  <a:cubicBezTo>
                    <a:pt x="76" y="26"/>
                    <a:pt x="78" y="38"/>
                    <a:pt x="75" y="50"/>
                  </a:cubicBezTo>
                  <a:cubicBezTo>
                    <a:pt x="74" y="52"/>
                    <a:pt x="75" y="53"/>
                    <a:pt x="77" y="54"/>
                  </a:cubicBezTo>
                  <a:cubicBezTo>
                    <a:pt x="85" y="55"/>
                    <a:pt x="93" y="44"/>
                    <a:pt x="86" y="36"/>
                  </a:cubicBezTo>
                  <a:cubicBezTo>
                    <a:pt x="84" y="34"/>
                    <a:pt x="82" y="33"/>
                    <a:pt x="79" y="32"/>
                  </a:cubicBezTo>
                  <a:cubicBezTo>
                    <a:pt x="70" y="0"/>
                    <a:pt x="24" y="0"/>
                    <a:pt x="14" y="32"/>
                  </a:cubicBezTo>
                  <a:cubicBezTo>
                    <a:pt x="11" y="33"/>
                    <a:pt x="9" y="34"/>
                    <a:pt x="7" y="36"/>
                  </a:cubicBezTo>
                  <a:cubicBezTo>
                    <a:pt x="0" y="44"/>
                    <a:pt x="7" y="54"/>
                    <a:pt x="15" y="54"/>
                  </a:cubicBezTo>
                  <a:cubicBezTo>
                    <a:pt x="15" y="54"/>
                    <a:pt x="17" y="53"/>
                    <a:pt x="1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7" name="Freeform 51"/>
            <p:cNvSpPr>
              <a:spLocks noEditPoints="1"/>
            </p:cNvSpPr>
            <p:nvPr/>
          </p:nvSpPr>
          <p:spPr bwMode="auto">
            <a:xfrm>
              <a:off x="2913757" y="5127725"/>
              <a:ext cx="299244" cy="424359"/>
            </a:xfrm>
            <a:custGeom>
              <a:avLst/>
              <a:gdLst>
                <a:gd name="T0" fmla="*/ 26 w 98"/>
                <a:gd name="T1" fmla="*/ 72 h 139"/>
                <a:gd name="T2" fmla="*/ 6 w 98"/>
                <a:gd name="T3" fmla="*/ 82 h 139"/>
                <a:gd name="T4" fmla="*/ 0 w 98"/>
                <a:gd name="T5" fmla="*/ 135 h 139"/>
                <a:gd name="T6" fmla="*/ 1 w 98"/>
                <a:gd name="T7" fmla="*/ 138 h 139"/>
                <a:gd name="T8" fmla="*/ 3 w 98"/>
                <a:gd name="T9" fmla="*/ 139 h 139"/>
                <a:gd name="T10" fmla="*/ 94 w 98"/>
                <a:gd name="T11" fmla="*/ 139 h 139"/>
                <a:gd name="T12" fmla="*/ 97 w 98"/>
                <a:gd name="T13" fmla="*/ 138 h 139"/>
                <a:gd name="T14" fmla="*/ 98 w 98"/>
                <a:gd name="T15" fmla="*/ 135 h 139"/>
                <a:gd name="T16" fmla="*/ 91 w 98"/>
                <a:gd name="T17" fmla="*/ 82 h 139"/>
                <a:gd name="T18" fmla="*/ 71 w 98"/>
                <a:gd name="T19" fmla="*/ 72 h 139"/>
                <a:gd name="T20" fmla="*/ 49 w 98"/>
                <a:gd name="T21" fmla="*/ 66 h 139"/>
                <a:gd name="T22" fmla="*/ 26 w 98"/>
                <a:gd name="T23" fmla="*/ 72 h 139"/>
                <a:gd name="T24" fmla="*/ 60 w 98"/>
                <a:gd name="T25" fmla="*/ 62 h 139"/>
                <a:gd name="T26" fmla="*/ 49 w 98"/>
                <a:gd name="T27" fmla="*/ 61 h 139"/>
                <a:gd name="T28" fmla="*/ 37 w 98"/>
                <a:gd name="T29" fmla="*/ 62 h 139"/>
                <a:gd name="T30" fmla="*/ 22 w 98"/>
                <a:gd name="T31" fmla="*/ 27 h 139"/>
                <a:gd name="T32" fmla="*/ 49 w 98"/>
                <a:gd name="T33" fmla="*/ 0 h 139"/>
                <a:gd name="T34" fmla="*/ 76 w 98"/>
                <a:gd name="T35" fmla="*/ 27 h 139"/>
                <a:gd name="T36" fmla="*/ 60 w 98"/>
                <a:gd name="T37" fmla="*/ 6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8" h="139">
                  <a:moveTo>
                    <a:pt x="26" y="72"/>
                  </a:moveTo>
                  <a:cubicBezTo>
                    <a:pt x="18" y="74"/>
                    <a:pt x="8" y="78"/>
                    <a:pt x="6" y="82"/>
                  </a:cubicBezTo>
                  <a:cubicBezTo>
                    <a:pt x="2" y="96"/>
                    <a:pt x="0" y="120"/>
                    <a:pt x="0" y="135"/>
                  </a:cubicBezTo>
                  <a:cubicBezTo>
                    <a:pt x="0" y="136"/>
                    <a:pt x="0" y="137"/>
                    <a:pt x="1" y="138"/>
                  </a:cubicBezTo>
                  <a:cubicBezTo>
                    <a:pt x="1" y="139"/>
                    <a:pt x="2" y="139"/>
                    <a:pt x="3" y="139"/>
                  </a:cubicBezTo>
                  <a:cubicBezTo>
                    <a:pt x="33" y="139"/>
                    <a:pt x="64" y="139"/>
                    <a:pt x="94" y="139"/>
                  </a:cubicBezTo>
                  <a:cubicBezTo>
                    <a:pt x="95" y="139"/>
                    <a:pt x="96" y="139"/>
                    <a:pt x="97" y="138"/>
                  </a:cubicBezTo>
                  <a:cubicBezTo>
                    <a:pt x="97" y="137"/>
                    <a:pt x="98" y="136"/>
                    <a:pt x="98" y="135"/>
                  </a:cubicBezTo>
                  <a:cubicBezTo>
                    <a:pt x="97" y="120"/>
                    <a:pt x="95" y="96"/>
                    <a:pt x="91" y="82"/>
                  </a:cubicBezTo>
                  <a:cubicBezTo>
                    <a:pt x="90" y="78"/>
                    <a:pt x="79" y="74"/>
                    <a:pt x="71" y="72"/>
                  </a:cubicBezTo>
                  <a:cubicBezTo>
                    <a:pt x="73" y="70"/>
                    <a:pt x="65" y="66"/>
                    <a:pt x="49" y="66"/>
                  </a:cubicBezTo>
                  <a:cubicBezTo>
                    <a:pt x="33" y="66"/>
                    <a:pt x="25" y="70"/>
                    <a:pt x="26" y="72"/>
                  </a:cubicBezTo>
                  <a:close/>
                  <a:moveTo>
                    <a:pt x="60" y="62"/>
                  </a:moveTo>
                  <a:cubicBezTo>
                    <a:pt x="55" y="61"/>
                    <a:pt x="51" y="61"/>
                    <a:pt x="49" y="61"/>
                  </a:cubicBezTo>
                  <a:cubicBezTo>
                    <a:pt x="46" y="61"/>
                    <a:pt x="42" y="61"/>
                    <a:pt x="37" y="62"/>
                  </a:cubicBezTo>
                  <a:cubicBezTo>
                    <a:pt x="33" y="60"/>
                    <a:pt x="22" y="46"/>
                    <a:pt x="22" y="27"/>
                  </a:cubicBezTo>
                  <a:cubicBezTo>
                    <a:pt x="22" y="12"/>
                    <a:pt x="34" y="0"/>
                    <a:pt x="49" y="0"/>
                  </a:cubicBezTo>
                  <a:cubicBezTo>
                    <a:pt x="64" y="0"/>
                    <a:pt x="76" y="12"/>
                    <a:pt x="76" y="27"/>
                  </a:cubicBezTo>
                  <a:cubicBezTo>
                    <a:pt x="76" y="46"/>
                    <a:pt x="64" y="60"/>
                    <a:pt x="60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8" name="Freeform 52"/>
            <p:cNvSpPr>
              <a:spLocks/>
            </p:cNvSpPr>
            <p:nvPr/>
          </p:nvSpPr>
          <p:spPr bwMode="auto">
            <a:xfrm>
              <a:off x="3158828" y="5069682"/>
              <a:ext cx="314722" cy="259259"/>
            </a:xfrm>
            <a:custGeom>
              <a:avLst/>
              <a:gdLst>
                <a:gd name="T0" fmla="*/ 10 w 103"/>
                <a:gd name="T1" fmla="*/ 0 h 85"/>
                <a:gd name="T2" fmla="*/ 93 w 103"/>
                <a:gd name="T3" fmla="*/ 0 h 85"/>
                <a:gd name="T4" fmla="*/ 103 w 103"/>
                <a:gd name="T5" fmla="*/ 10 h 85"/>
                <a:gd name="T6" fmla="*/ 103 w 103"/>
                <a:gd name="T7" fmla="*/ 75 h 85"/>
                <a:gd name="T8" fmla="*/ 93 w 103"/>
                <a:gd name="T9" fmla="*/ 85 h 85"/>
                <a:gd name="T10" fmla="*/ 10 w 103"/>
                <a:gd name="T11" fmla="*/ 85 h 85"/>
                <a:gd name="T12" fmla="*/ 0 w 103"/>
                <a:gd name="T13" fmla="*/ 75 h 85"/>
                <a:gd name="T14" fmla="*/ 0 w 103"/>
                <a:gd name="T15" fmla="*/ 63 h 85"/>
                <a:gd name="T16" fmla="*/ 8 w 103"/>
                <a:gd name="T17" fmla="*/ 61 h 85"/>
                <a:gd name="T18" fmla="*/ 8 w 103"/>
                <a:gd name="T19" fmla="*/ 75 h 85"/>
                <a:gd name="T20" fmla="*/ 10 w 103"/>
                <a:gd name="T21" fmla="*/ 78 h 85"/>
                <a:gd name="T22" fmla="*/ 93 w 103"/>
                <a:gd name="T23" fmla="*/ 78 h 85"/>
                <a:gd name="T24" fmla="*/ 95 w 103"/>
                <a:gd name="T25" fmla="*/ 75 h 85"/>
                <a:gd name="T26" fmla="*/ 95 w 103"/>
                <a:gd name="T27" fmla="*/ 10 h 85"/>
                <a:gd name="T28" fmla="*/ 93 w 103"/>
                <a:gd name="T29" fmla="*/ 7 h 85"/>
                <a:gd name="T30" fmla="*/ 10 w 103"/>
                <a:gd name="T31" fmla="*/ 7 h 85"/>
                <a:gd name="T32" fmla="*/ 8 w 103"/>
                <a:gd name="T33" fmla="*/ 10 h 85"/>
                <a:gd name="T34" fmla="*/ 8 w 103"/>
                <a:gd name="T35" fmla="*/ 35 h 85"/>
                <a:gd name="T36" fmla="*/ 4 w 103"/>
                <a:gd name="T37" fmla="*/ 34 h 85"/>
                <a:gd name="T38" fmla="*/ 0 w 103"/>
                <a:gd name="T39" fmla="*/ 25 h 85"/>
                <a:gd name="T40" fmla="*/ 0 w 103"/>
                <a:gd name="T41" fmla="*/ 10 h 85"/>
                <a:gd name="T42" fmla="*/ 10 w 103"/>
                <a:gd name="T4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3" h="85">
                  <a:moveTo>
                    <a:pt x="10" y="0"/>
                  </a:moveTo>
                  <a:cubicBezTo>
                    <a:pt x="93" y="0"/>
                    <a:pt x="93" y="0"/>
                    <a:pt x="93" y="0"/>
                  </a:cubicBezTo>
                  <a:cubicBezTo>
                    <a:pt x="98" y="0"/>
                    <a:pt x="103" y="5"/>
                    <a:pt x="103" y="10"/>
                  </a:cubicBezTo>
                  <a:cubicBezTo>
                    <a:pt x="103" y="75"/>
                    <a:pt x="103" y="75"/>
                    <a:pt x="103" y="75"/>
                  </a:cubicBezTo>
                  <a:cubicBezTo>
                    <a:pt x="103" y="80"/>
                    <a:pt x="98" y="85"/>
                    <a:pt x="93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5" y="85"/>
                    <a:pt x="0" y="81"/>
                    <a:pt x="0" y="7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3"/>
                    <a:pt x="6" y="62"/>
                    <a:pt x="8" y="61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8" y="77"/>
                    <a:pt x="9" y="78"/>
                    <a:pt x="10" y="78"/>
                  </a:cubicBezTo>
                  <a:cubicBezTo>
                    <a:pt x="47" y="78"/>
                    <a:pt x="56" y="78"/>
                    <a:pt x="93" y="78"/>
                  </a:cubicBezTo>
                  <a:cubicBezTo>
                    <a:pt x="94" y="78"/>
                    <a:pt x="95" y="77"/>
                    <a:pt x="95" y="75"/>
                  </a:cubicBezTo>
                  <a:cubicBezTo>
                    <a:pt x="95" y="10"/>
                    <a:pt x="95" y="10"/>
                    <a:pt x="95" y="10"/>
                  </a:cubicBezTo>
                  <a:cubicBezTo>
                    <a:pt x="95" y="9"/>
                    <a:pt x="94" y="7"/>
                    <a:pt x="93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9" y="7"/>
                    <a:pt x="8" y="9"/>
                    <a:pt x="8" y="10"/>
                  </a:cubicBezTo>
                  <a:cubicBezTo>
                    <a:pt x="8" y="35"/>
                    <a:pt x="8" y="35"/>
                    <a:pt x="8" y="35"/>
                  </a:cubicBezTo>
                  <a:cubicBezTo>
                    <a:pt x="7" y="34"/>
                    <a:pt x="6" y="34"/>
                    <a:pt x="4" y="34"/>
                  </a:cubicBezTo>
                  <a:cubicBezTo>
                    <a:pt x="3" y="31"/>
                    <a:pt x="2" y="28"/>
                    <a:pt x="0" y="2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29" name="Freeform 53"/>
            <p:cNvSpPr>
              <a:spLocks/>
            </p:cNvSpPr>
            <p:nvPr/>
          </p:nvSpPr>
          <p:spPr bwMode="auto">
            <a:xfrm>
              <a:off x="3234928" y="5094190"/>
              <a:ext cx="165100" cy="153492"/>
            </a:xfrm>
            <a:custGeom>
              <a:avLst/>
              <a:gdLst>
                <a:gd name="T0" fmla="*/ 6 w 54"/>
                <a:gd name="T1" fmla="*/ 33 h 50"/>
                <a:gd name="T2" fmla="*/ 8 w 54"/>
                <a:gd name="T3" fmla="*/ 33 h 50"/>
                <a:gd name="T4" fmla="*/ 9 w 54"/>
                <a:gd name="T5" fmla="*/ 31 h 50"/>
                <a:gd name="T6" fmla="*/ 15 w 54"/>
                <a:gd name="T7" fmla="*/ 11 h 50"/>
                <a:gd name="T8" fmla="*/ 38 w 54"/>
                <a:gd name="T9" fmla="*/ 11 h 50"/>
                <a:gd name="T10" fmla="*/ 44 w 54"/>
                <a:gd name="T11" fmla="*/ 31 h 50"/>
                <a:gd name="T12" fmla="*/ 45 w 54"/>
                <a:gd name="T13" fmla="*/ 33 h 50"/>
                <a:gd name="T14" fmla="*/ 43 w 54"/>
                <a:gd name="T15" fmla="*/ 39 h 50"/>
                <a:gd name="T16" fmla="*/ 42 w 54"/>
                <a:gd name="T17" fmla="*/ 43 h 50"/>
                <a:gd name="T18" fmla="*/ 41 w 54"/>
                <a:gd name="T19" fmla="*/ 43 h 50"/>
                <a:gd name="T20" fmla="*/ 37 w 54"/>
                <a:gd name="T21" fmla="*/ 47 h 50"/>
                <a:gd name="T22" fmla="*/ 41 w 54"/>
                <a:gd name="T23" fmla="*/ 50 h 50"/>
                <a:gd name="T24" fmla="*/ 44 w 54"/>
                <a:gd name="T25" fmla="*/ 47 h 50"/>
                <a:gd name="T26" fmla="*/ 43 w 54"/>
                <a:gd name="T27" fmla="*/ 44 h 50"/>
                <a:gd name="T28" fmla="*/ 45 w 54"/>
                <a:gd name="T29" fmla="*/ 40 h 50"/>
                <a:gd name="T30" fmla="*/ 46 w 54"/>
                <a:gd name="T31" fmla="*/ 33 h 50"/>
                <a:gd name="T32" fmla="*/ 47 w 54"/>
                <a:gd name="T33" fmla="*/ 33 h 50"/>
                <a:gd name="T34" fmla="*/ 50 w 54"/>
                <a:gd name="T35" fmla="*/ 33 h 50"/>
                <a:gd name="T36" fmla="*/ 54 w 54"/>
                <a:gd name="T37" fmla="*/ 30 h 50"/>
                <a:gd name="T38" fmla="*/ 54 w 54"/>
                <a:gd name="T39" fmla="*/ 24 h 50"/>
                <a:gd name="T40" fmla="*/ 50 w 54"/>
                <a:gd name="T41" fmla="*/ 20 h 50"/>
                <a:gd name="T42" fmla="*/ 46 w 54"/>
                <a:gd name="T43" fmla="*/ 20 h 50"/>
                <a:gd name="T44" fmla="*/ 7 w 54"/>
                <a:gd name="T45" fmla="*/ 20 h 50"/>
                <a:gd name="T46" fmla="*/ 3 w 54"/>
                <a:gd name="T47" fmla="*/ 20 h 50"/>
                <a:gd name="T48" fmla="*/ 0 w 54"/>
                <a:gd name="T49" fmla="*/ 24 h 50"/>
                <a:gd name="T50" fmla="*/ 0 w 54"/>
                <a:gd name="T51" fmla="*/ 30 h 50"/>
                <a:gd name="T52" fmla="*/ 3 w 54"/>
                <a:gd name="T53" fmla="*/ 33 h 50"/>
                <a:gd name="T54" fmla="*/ 6 w 54"/>
                <a:gd name="T55" fmla="*/ 3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" h="50">
                  <a:moveTo>
                    <a:pt x="6" y="33"/>
                  </a:moveTo>
                  <a:cubicBezTo>
                    <a:pt x="7" y="33"/>
                    <a:pt x="8" y="33"/>
                    <a:pt x="8" y="33"/>
                  </a:cubicBezTo>
                  <a:cubicBezTo>
                    <a:pt x="9" y="33"/>
                    <a:pt x="10" y="32"/>
                    <a:pt x="9" y="31"/>
                  </a:cubicBezTo>
                  <a:cubicBezTo>
                    <a:pt x="7" y="24"/>
                    <a:pt x="9" y="16"/>
                    <a:pt x="15" y="11"/>
                  </a:cubicBezTo>
                  <a:cubicBezTo>
                    <a:pt x="22" y="6"/>
                    <a:pt x="31" y="6"/>
                    <a:pt x="38" y="11"/>
                  </a:cubicBezTo>
                  <a:cubicBezTo>
                    <a:pt x="44" y="16"/>
                    <a:pt x="46" y="24"/>
                    <a:pt x="44" y="31"/>
                  </a:cubicBezTo>
                  <a:cubicBezTo>
                    <a:pt x="43" y="32"/>
                    <a:pt x="44" y="33"/>
                    <a:pt x="45" y="33"/>
                  </a:cubicBezTo>
                  <a:cubicBezTo>
                    <a:pt x="44" y="35"/>
                    <a:pt x="44" y="37"/>
                    <a:pt x="43" y="39"/>
                  </a:cubicBezTo>
                  <a:cubicBezTo>
                    <a:pt x="43" y="41"/>
                    <a:pt x="42" y="42"/>
                    <a:pt x="42" y="43"/>
                  </a:cubicBezTo>
                  <a:cubicBezTo>
                    <a:pt x="42" y="43"/>
                    <a:pt x="41" y="43"/>
                    <a:pt x="41" y="43"/>
                  </a:cubicBezTo>
                  <a:cubicBezTo>
                    <a:pt x="39" y="43"/>
                    <a:pt x="37" y="45"/>
                    <a:pt x="37" y="47"/>
                  </a:cubicBezTo>
                  <a:cubicBezTo>
                    <a:pt x="37" y="49"/>
                    <a:pt x="39" y="50"/>
                    <a:pt x="41" y="50"/>
                  </a:cubicBezTo>
                  <a:cubicBezTo>
                    <a:pt x="43" y="50"/>
                    <a:pt x="44" y="49"/>
                    <a:pt x="44" y="47"/>
                  </a:cubicBezTo>
                  <a:cubicBezTo>
                    <a:pt x="44" y="46"/>
                    <a:pt x="44" y="45"/>
                    <a:pt x="43" y="44"/>
                  </a:cubicBezTo>
                  <a:cubicBezTo>
                    <a:pt x="44" y="43"/>
                    <a:pt x="44" y="41"/>
                    <a:pt x="45" y="40"/>
                  </a:cubicBezTo>
                  <a:cubicBezTo>
                    <a:pt x="45" y="38"/>
                    <a:pt x="46" y="35"/>
                    <a:pt x="46" y="33"/>
                  </a:cubicBezTo>
                  <a:cubicBezTo>
                    <a:pt x="46" y="33"/>
                    <a:pt x="46" y="33"/>
                    <a:pt x="47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2" y="33"/>
                    <a:pt x="54" y="32"/>
                    <a:pt x="54" y="30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54" y="22"/>
                    <a:pt x="52" y="20"/>
                    <a:pt x="50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0" y="0"/>
                    <a:pt x="13" y="0"/>
                    <a:pt x="7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1" y="20"/>
                    <a:pt x="0" y="22"/>
                    <a:pt x="0" y="2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1" y="33"/>
                    <a:pt x="3" y="33"/>
                  </a:cubicBezTo>
                  <a:cubicBezTo>
                    <a:pt x="6" y="33"/>
                    <a:pt x="6" y="33"/>
                    <a:pt x="6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  <p:sp>
          <p:nvSpPr>
            <p:cNvPr id="30" name="Freeform 54"/>
            <p:cNvSpPr>
              <a:spLocks noEditPoints="1"/>
            </p:cNvSpPr>
            <p:nvPr/>
          </p:nvSpPr>
          <p:spPr bwMode="auto">
            <a:xfrm>
              <a:off x="3207843" y="5125145"/>
              <a:ext cx="219273" cy="201216"/>
            </a:xfrm>
            <a:custGeom>
              <a:avLst/>
              <a:gdLst>
                <a:gd name="T0" fmla="*/ 36 w 72"/>
                <a:gd name="T1" fmla="*/ 47 h 66"/>
                <a:gd name="T2" fmla="*/ 32 w 72"/>
                <a:gd name="T3" fmla="*/ 49 h 66"/>
                <a:gd name="T4" fmla="*/ 33 w 72"/>
                <a:gd name="T5" fmla="*/ 52 h 66"/>
                <a:gd name="T6" fmla="*/ 31 w 72"/>
                <a:gd name="T7" fmla="*/ 62 h 66"/>
                <a:gd name="T8" fmla="*/ 24 w 72"/>
                <a:gd name="T9" fmla="*/ 44 h 66"/>
                <a:gd name="T10" fmla="*/ 3 w 72"/>
                <a:gd name="T11" fmla="*/ 52 h 66"/>
                <a:gd name="T12" fmla="*/ 0 w 72"/>
                <a:gd name="T13" fmla="*/ 66 h 66"/>
                <a:gd name="T14" fmla="*/ 72 w 72"/>
                <a:gd name="T15" fmla="*/ 66 h 66"/>
                <a:gd name="T16" fmla="*/ 68 w 72"/>
                <a:gd name="T17" fmla="*/ 52 h 66"/>
                <a:gd name="T18" fmla="*/ 47 w 72"/>
                <a:gd name="T19" fmla="*/ 44 h 66"/>
                <a:gd name="T20" fmla="*/ 40 w 72"/>
                <a:gd name="T21" fmla="*/ 62 h 66"/>
                <a:gd name="T22" fmla="*/ 38 w 72"/>
                <a:gd name="T23" fmla="*/ 52 h 66"/>
                <a:gd name="T24" fmla="*/ 39 w 72"/>
                <a:gd name="T25" fmla="*/ 49 h 66"/>
                <a:gd name="T26" fmla="*/ 36 w 72"/>
                <a:gd name="T27" fmla="*/ 47 h 66"/>
                <a:gd name="T28" fmla="*/ 36 w 72"/>
                <a:gd name="T29" fmla="*/ 0 h 66"/>
                <a:gd name="T30" fmla="*/ 51 w 72"/>
                <a:gd name="T31" fmla="*/ 16 h 66"/>
                <a:gd name="T32" fmla="*/ 36 w 72"/>
                <a:gd name="T33" fmla="*/ 40 h 66"/>
                <a:gd name="T34" fmla="*/ 20 w 72"/>
                <a:gd name="T35" fmla="*/ 16 h 66"/>
                <a:gd name="T36" fmla="*/ 36 w 72"/>
                <a:gd name="T37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66">
                  <a:moveTo>
                    <a:pt x="36" y="47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28" y="55"/>
                    <a:pt x="25" y="51"/>
                    <a:pt x="24" y="44"/>
                  </a:cubicBezTo>
                  <a:cubicBezTo>
                    <a:pt x="18" y="46"/>
                    <a:pt x="6" y="46"/>
                    <a:pt x="3" y="52"/>
                  </a:cubicBezTo>
                  <a:cubicBezTo>
                    <a:pt x="1" y="57"/>
                    <a:pt x="1" y="59"/>
                    <a:pt x="0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1" y="59"/>
                    <a:pt x="70" y="57"/>
                    <a:pt x="68" y="52"/>
                  </a:cubicBezTo>
                  <a:cubicBezTo>
                    <a:pt x="65" y="46"/>
                    <a:pt x="53" y="46"/>
                    <a:pt x="47" y="44"/>
                  </a:cubicBezTo>
                  <a:cubicBezTo>
                    <a:pt x="46" y="51"/>
                    <a:pt x="44" y="55"/>
                    <a:pt x="40" y="6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0"/>
                  </a:moveTo>
                  <a:cubicBezTo>
                    <a:pt x="44" y="0"/>
                    <a:pt x="51" y="7"/>
                    <a:pt x="51" y="16"/>
                  </a:cubicBezTo>
                  <a:cubicBezTo>
                    <a:pt x="51" y="25"/>
                    <a:pt x="45" y="40"/>
                    <a:pt x="36" y="40"/>
                  </a:cubicBezTo>
                  <a:cubicBezTo>
                    <a:pt x="26" y="40"/>
                    <a:pt x="20" y="25"/>
                    <a:pt x="20" y="16"/>
                  </a:cubicBezTo>
                  <a:cubicBezTo>
                    <a:pt x="20" y="7"/>
                    <a:pt x="27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solidFill>
                  <a:prstClr val="black"/>
                </a:solidFill>
              </a:endParaRPr>
            </a:p>
          </p:txBody>
        </p:sp>
      </p:grpSp>
      <p:grpSp>
        <p:nvGrpSpPr>
          <p:cNvPr id="38" name="Группа 37"/>
          <p:cNvGrpSpPr>
            <a:grpSpLocks noChangeAspect="1"/>
          </p:cNvGrpSpPr>
          <p:nvPr/>
        </p:nvGrpSpPr>
        <p:grpSpPr>
          <a:xfrm>
            <a:off x="10046628" y="4783682"/>
            <a:ext cx="720079" cy="753977"/>
            <a:chOff x="1474947" y="3993474"/>
            <a:chExt cx="576231" cy="489296"/>
          </a:xfrm>
          <a:solidFill>
            <a:srgbClr val="005CAB"/>
          </a:solidFill>
        </p:grpSpPr>
        <p:sp>
          <p:nvSpPr>
            <p:cNvPr id="39" name="Rectangle 131"/>
            <p:cNvSpPr>
              <a:spLocks noChangeArrowheads="1"/>
            </p:cNvSpPr>
            <p:nvPr/>
          </p:nvSpPr>
          <p:spPr bwMode="auto">
            <a:xfrm>
              <a:off x="1474947" y="4463822"/>
              <a:ext cx="561742" cy="1894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32"/>
            <p:cNvSpPr>
              <a:spLocks/>
            </p:cNvSpPr>
            <p:nvPr/>
          </p:nvSpPr>
          <p:spPr bwMode="auto">
            <a:xfrm>
              <a:off x="1512842" y="4375771"/>
              <a:ext cx="78020" cy="72447"/>
            </a:xfrm>
            <a:custGeom>
              <a:avLst/>
              <a:gdLst/>
              <a:ahLst/>
              <a:cxnLst>
                <a:cxn ang="0">
                  <a:pos x="63" y="65"/>
                </a:cxn>
                <a:cxn ang="0">
                  <a:pos x="63" y="65"/>
                </a:cxn>
                <a:cxn ang="0">
                  <a:pos x="66" y="64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0" y="57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30" y="7"/>
                </a:cxn>
                <a:cxn ang="0">
                  <a:pos x="0" y="11"/>
                </a:cxn>
                <a:cxn ang="0">
                  <a:pos x="0" y="57"/>
                </a:cxn>
                <a:cxn ang="0">
                  <a:pos x="0" y="57"/>
                </a:cxn>
                <a:cxn ang="0">
                  <a:pos x="1" y="60"/>
                </a:cxn>
                <a:cxn ang="0">
                  <a:pos x="3" y="63"/>
                </a:cxn>
                <a:cxn ang="0">
                  <a:pos x="5" y="64"/>
                </a:cxn>
                <a:cxn ang="0">
                  <a:pos x="8" y="65"/>
                </a:cxn>
                <a:cxn ang="0">
                  <a:pos x="63" y="65"/>
                </a:cxn>
              </a:cxnLst>
              <a:rect l="0" t="0" r="r" b="b"/>
              <a:pathLst>
                <a:path w="70" h="65">
                  <a:moveTo>
                    <a:pt x="63" y="65"/>
                  </a:moveTo>
                  <a:lnTo>
                    <a:pt x="63" y="65"/>
                  </a:lnTo>
                  <a:lnTo>
                    <a:pt x="66" y="64"/>
                  </a:lnTo>
                  <a:lnTo>
                    <a:pt x="68" y="63"/>
                  </a:lnTo>
                  <a:lnTo>
                    <a:pt x="70" y="60"/>
                  </a:lnTo>
                  <a:lnTo>
                    <a:pt x="70" y="57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30" y="7"/>
                  </a:lnTo>
                  <a:lnTo>
                    <a:pt x="0" y="11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60"/>
                  </a:lnTo>
                  <a:lnTo>
                    <a:pt x="3" y="63"/>
                  </a:lnTo>
                  <a:lnTo>
                    <a:pt x="5" y="64"/>
                  </a:lnTo>
                  <a:lnTo>
                    <a:pt x="8" y="65"/>
                  </a:lnTo>
                  <a:lnTo>
                    <a:pt x="63" y="6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33"/>
            <p:cNvSpPr>
              <a:spLocks/>
            </p:cNvSpPr>
            <p:nvPr/>
          </p:nvSpPr>
          <p:spPr bwMode="auto">
            <a:xfrm>
              <a:off x="1613153" y="4342334"/>
              <a:ext cx="79135" cy="105884"/>
            </a:xfrm>
            <a:custGeom>
              <a:avLst/>
              <a:gdLst/>
              <a:ahLst/>
              <a:cxnLst>
                <a:cxn ang="0">
                  <a:pos x="63" y="95"/>
                </a:cxn>
                <a:cxn ang="0">
                  <a:pos x="63" y="95"/>
                </a:cxn>
                <a:cxn ang="0">
                  <a:pos x="66" y="94"/>
                </a:cxn>
                <a:cxn ang="0">
                  <a:pos x="69" y="93"/>
                </a:cxn>
                <a:cxn ang="0">
                  <a:pos x="71" y="90"/>
                </a:cxn>
                <a:cxn ang="0">
                  <a:pos x="71" y="87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65" y="3"/>
                </a:cxn>
                <a:cxn ang="0">
                  <a:pos x="65" y="3"/>
                </a:cxn>
                <a:cxn ang="0">
                  <a:pos x="33" y="15"/>
                </a:cxn>
                <a:cxn ang="0">
                  <a:pos x="0" y="24"/>
                </a:cxn>
                <a:cxn ang="0">
                  <a:pos x="0" y="87"/>
                </a:cxn>
                <a:cxn ang="0">
                  <a:pos x="0" y="87"/>
                </a:cxn>
                <a:cxn ang="0">
                  <a:pos x="2" y="90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9" y="95"/>
                </a:cxn>
                <a:cxn ang="0">
                  <a:pos x="63" y="95"/>
                </a:cxn>
              </a:cxnLst>
              <a:rect l="0" t="0" r="r" b="b"/>
              <a:pathLst>
                <a:path w="71" h="95">
                  <a:moveTo>
                    <a:pt x="63" y="95"/>
                  </a:moveTo>
                  <a:lnTo>
                    <a:pt x="63" y="95"/>
                  </a:lnTo>
                  <a:lnTo>
                    <a:pt x="66" y="94"/>
                  </a:lnTo>
                  <a:lnTo>
                    <a:pt x="69" y="93"/>
                  </a:lnTo>
                  <a:lnTo>
                    <a:pt x="71" y="90"/>
                  </a:lnTo>
                  <a:lnTo>
                    <a:pt x="71" y="87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33" y="15"/>
                  </a:lnTo>
                  <a:lnTo>
                    <a:pt x="0" y="24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2" y="90"/>
                  </a:lnTo>
                  <a:lnTo>
                    <a:pt x="3" y="93"/>
                  </a:lnTo>
                  <a:lnTo>
                    <a:pt x="6" y="94"/>
                  </a:lnTo>
                  <a:lnTo>
                    <a:pt x="9" y="95"/>
                  </a:lnTo>
                  <a:lnTo>
                    <a:pt x="63" y="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34"/>
            <p:cNvSpPr>
              <a:spLocks/>
            </p:cNvSpPr>
            <p:nvPr/>
          </p:nvSpPr>
          <p:spPr bwMode="auto">
            <a:xfrm>
              <a:off x="1714579" y="4292178"/>
              <a:ext cx="79135" cy="156040"/>
            </a:xfrm>
            <a:custGeom>
              <a:avLst/>
              <a:gdLst/>
              <a:ahLst/>
              <a:cxnLst>
                <a:cxn ang="0">
                  <a:pos x="63" y="140"/>
                </a:cxn>
                <a:cxn ang="0">
                  <a:pos x="63" y="140"/>
                </a:cxn>
                <a:cxn ang="0">
                  <a:pos x="66" y="139"/>
                </a:cxn>
                <a:cxn ang="0">
                  <a:pos x="69" y="138"/>
                </a:cxn>
                <a:cxn ang="0">
                  <a:pos x="71" y="135"/>
                </a:cxn>
                <a:cxn ang="0">
                  <a:pos x="71" y="132"/>
                </a:cxn>
                <a:cxn ang="0">
                  <a:pos x="71" y="0"/>
                </a:cxn>
                <a:cxn ang="0">
                  <a:pos x="71" y="0"/>
                </a:cxn>
                <a:cxn ang="0">
                  <a:pos x="37" y="19"/>
                </a:cxn>
                <a:cxn ang="0">
                  <a:pos x="0" y="36"/>
                </a:cxn>
                <a:cxn ang="0">
                  <a:pos x="0" y="132"/>
                </a:cxn>
                <a:cxn ang="0">
                  <a:pos x="0" y="132"/>
                </a:cxn>
                <a:cxn ang="0">
                  <a:pos x="0" y="135"/>
                </a:cxn>
                <a:cxn ang="0">
                  <a:pos x="3" y="138"/>
                </a:cxn>
                <a:cxn ang="0">
                  <a:pos x="5" y="139"/>
                </a:cxn>
                <a:cxn ang="0">
                  <a:pos x="9" y="140"/>
                </a:cxn>
                <a:cxn ang="0">
                  <a:pos x="63" y="140"/>
                </a:cxn>
              </a:cxnLst>
              <a:rect l="0" t="0" r="r" b="b"/>
              <a:pathLst>
                <a:path w="71" h="140">
                  <a:moveTo>
                    <a:pt x="63" y="140"/>
                  </a:moveTo>
                  <a:lnTo>
                    <a:pt x="63" y="140"/>
                  </a:lnTo>
                  <a:lnTo>
                    <a:pt x="66" y="139"/>
                  </a:lnTo>
                  <a:lnTo>
                    <a:pt x="69" y="138"/>
                  </a:lnTo>
                  <a:lnTo>
                    <a:pt x="71" y="135"/>
                  </a:lnTo>
                  <a:lnTo>
                    <a:pt x="71" y="132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37" y="19"/>
                  </a:lnTo>
                  <a:lnTo>
                    <a:pt x="0" y="36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3" y="138"/>
                  </a:lnTo>
                  <a:lnTo>
                    <a:pt x="5" y="139"/>
                  </a:lnTo>
                  <a:lnTo>
                    <a:pt x="9" y="140"/>
                  </a:lnTo>
                  <a:lnTo>
                    <a:pt x="63" y="14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5"/>
            <p:cNvSpPr>
              <a:spLocks/>
            </p:cNvSpPr>
            <p:nvPr/>
          </p:nvSpPr>
          <p:spPr bwMode="auto">
            <a:xfrm>
              <a:off x="1816005" y="4216388"/>
              <a:ext cx="78020" cy="231830"/>
            </a:xfrm>
            <a:custGeom>
              <a:avLst/>
              <a:gdLst/>
              <a:ahLst/>
              <a:cxnLst>
                <a:cxn ang="0">
                  <a:pos x="63" y="208"/>
                </a:cxn>
                <a:cxn ang="0">
                  <a:pos x="63" y="208"/>
                </a:cxn>
                <a:cxn ang="0">
                  <a:pos x="66" y="207"/>
                </a:cxn>
                <a:cxn ang="0">
                  <a:pos x="69" y="206"/>
                </a:cxn>
                <a:cxn ang="0">
                  <a:pos x="70" y="203"/>
                </a:cxn>
                <a:cxn ang="0">
                  <a:pos x="70" y="200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47" y="21"/>
                </a:cxn>
                <a:cxn ang="0">
                  <a:pos x="47" y="21"/>
                </a:cxn>
                <a:cxn ang="0">
                  <a:pos x="24" y="39"/>
                </a:cxn>
                <a:cxn ang="0">
                  <a:pos x="0" y="55"/>
                </a:cxn>
                <a:cxn ang="0">
                  <a:pos x="0" y="200"/>
                </a:cxn>
                <a:cxn ang="0">
                  <a:pos x="0" y="200"/>
                </a:cxn>
                <a:cxn ang="0">
                  <a:pos x="0" y="203"/>
                </a:cxn>
                <a:cxn ang="0">
                  <a:pos x="3" y="206"/>
                </a:cxn>
                <a:cxn ang="0">
                  <a:pos x="4" y="207"/>
                </a:cxn>
                <a:cxn ang="0">
                  <a:pos x="9" y="208"/>
                </a:cxn>
                <a:cxn ang="0">
                  <a:pos x="63" y="208"/>
                </a:cxn>
              </a:cxnLst>
              <a:rect l="0" t="0" r="r" b="b"/>
              <a:pathLst>
                <a:path w="70" h="208">
                  <a:moveTo>
                    <a:pt x="63" y="208"/>
                  </a:moveTo>
                  <a:lnTo>
                    <a:pt x="63" y="208"/>
                  </a:lnTo>
                  <a:lnTo>
                    <a:pt x="66" y="207"/>
                  </a:lnTo>
                  <a:lnTo>
                    <a:pt x="69" y="206"/>
                  </a:lnTo>
                  <a:lnTo>
                    <a:pt x="70" y="203"/>
                  </a:lnTo>
                  <a:lnTo>
                    <a:pt x="70" y="20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24" y="39"/>
                  </a:lnTo>
                  <a:lnTo>
                    <a:pt x="0" y="55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3"/>
                  </a:lnTo>
                  <a:lnTo>
                    <a:pt x="3" y="206"/>
                  </a:lnTo>
                  <a:lnTo>
                    <a:pt x="4" y="207"/>
                  </a:lnTo>
                  <a:lnTo>
                    <a:pt x="9" y="208"/>
                  </a:lnTo>
                  <a:lnTo>
                    <a:pt x="63" y="2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36"/>
            <p:cNvSpPr>
              <a:spLocks/>
            </p:cNvSpPr>
            <p:nvPr/>
          </p:nvSpPr>
          <p:spPr bwMode="auto">
            <a:xfrm>
              <a:off x="1917430" y="4106046"/>
              <a:ext cx="78020" cy="342173"/>
            </a:xfrm>
            <a:custGeom>
              <a:avLst/>
              <a:gdLst/>
              <a:ahLst/>
              <a:cxnLst>
                <a:cxn ang="0">
                  <a:pos x="63" y="307"/>
                </a:cxn>
                <a:cxn ang="0">
                  <a:pos x="63" y="307"/>
                </a:cxn>
                <a:cxn ang="0">
                  <a:pos x="66" y="306"/>
                </a:cxn>
                <a:cxn ang="0">
                  <a:pos x="69" y="305"/>
                </a:cxn>
                <a:cxn ang="0">
                  <a:pos x="70" y="302"/>
                </a:cxn>
                <a:cxn ang="0">
                  <a:pos x="70" y="299"/>
                </a:cxn>
                <a:cxn ang="0">
                  <a:pos x="70" y="0"/>
                </a:cxn>
                <a:cxn ang="0">
                  <a:pos x="70" y="0"/>
                </a:cxn>
                <a:cxn ang="0">
                  <a:pos x="54" y="22"/>
                </a:cxn>
                <a:cxn ang="0">
                  <a:pos x="37" y="42"/>
                </a:cxn>
                <a:cxn ang="0">
                  <a:pos x="19" y="63"/>
                </a:cxn>
                <a:cxn ang="0">
                  <a:pos x="0" y="82"/>
                </a:cxn>
                <a:cxn ang="0">
                  <a:pos x="0" y="299"/>
                </a:cxn>
                <a:cxn ang="0">
                  <a:pos x="0" y="299"/>
                </a:cxn>
                <a:cxn ang="0">
                  <a:pos x="0" y="302"/>
                </a:cxn>
                <a:cxn ang="0">
                  <a:pos x="3" y="305"/>
                </a:cxn>
                <a:cxn ang="0">
                  <a:pos x="4" y="306"/>
                </a:cxn>
                <a:cxn ang="0">
                  <a:pos x="9" y="307"/>
                </a:cxn>
                <a:cxn ang="0">
                  <a:pos x="63" y="307"/>
                </a:cxn>
              </a:cxnLst>
              <a:rect l="0" t="0" r="r" b="b"/>
              <a:pathLst>
                <a:path w="70" h="307">
                  <a:moveTo>
                    <a:pt x="63" y="307"/>
                  </a:moveTo>
                  <a:lnTo>
                    <a:pt x="63" y="307"/>
                  </a:lnTo>
                  <a:lnTo>
                    <a:pt x="66" y="306"/>
                  </a:lnTo>
                  <a:lnTo>
                    <a:pt x="69" y="305"/>
                  </a:lnTo>
                  <a:lnTo>
                    <a:pt x="70" y="302"/>
                  </a:lnTo>
                  <a:lnTo>
                    <a:pt x="70" y="299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54" y="22"/>
                  </a:lnTo>
                  <a:lnTo>
                    <a:pt x="37" y="42"/>
                  </a:lnTo>
                  <a:lnTo>
                    <a:pt x="19" y="63"/>
                  </a:lnTo>
                  <a:lnTo>
                    <a:pt x="0" y="82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02"/>
                  </a:lnTo>
                  <a:lnTo>
                    <a:pt x="3" y="305"/>
                  </a:lnTo>
                  <a:lnTo>
                    <a:pt x="4" y="306"/>
                  </a:lnTo>
                  <a:lnTo>
                    <a:pt x="9" y="307"/>
                  </a:lnTo>
                  <a:lnTo>
                    <a:pt x="63" y="3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37"/>
            <p:cNvSpPr>
              <a:spLocks/>
            </p:cNvSpPr>
            <p:nvPr/>
          </p:nvSpPr>
          <p:spPr bwMode="auto">
            <a:xfrm>
              <a:off x="1478290" y="3993474"/>
              <a:ext cx="572888" cy="372266"/>
            </a:xfrm>
            <a:custGeom>
              <a:avLst/>
              <a:gdLst/>
              <a:ahLst/>
              <a:cxnLst>
                <a:cxn ang="0">
                  <a:pos x="491" y="10"/>
                </a:cxn>
                <a:cxn ang="0">
                  <a:pos x="488" y="6"/>
                </a:cxn>
                <a:cxn ang="0">
                  <a:pos x="477" y="0"/>
                </a:cxn>
                <a:cxn ang="0">
                  <a:pos x="400" y="23"/>
                </a:cxn>
                <a:cxn ang="0">
                  <a:pos x="395" y="26"/>
                </a:cxn>
                <a:cxn ang="0">
                  <a:pos x="390" y="36"/>
                </a:cxn>
                <a:cxn ang="0">
                  <a:pos x="390" y="42"/>
                </a:cxn>
                <a:cxn ang="0">
                  <a:pos x="397" y="51"/>
                </a:cxn>
                <a:cxn ang="0">
                  <a:pos x="409" y="51"/>
                </a:cxn>
                <a:cxn ang="0">
                  <a:pos x="445" y="41"/>
                </a:cxn>
                <a:cxn ang="0">
                  <a:pos x="416" y="80"/>
                </a:cxn>
                <a:cxn ang="0">
                  <a:pos x="385" y="115"/>
                </a:cxn>
                <a:cxn ang="0">
                  <a:pos x="321" y="176"/>
                </a:cxn>
                <a:cxn ang="0">
                  <a:pos x="291" y="196"/>
                </a:cxn>
                <a:cxn ang="0">
                  <a:pos x="234" y="233"/>
                </a:cxn>
                <a:cxn ang="0">
                  <a:pos x="179" y="259"/>
                </a:cxn>
                <a:cxn ang="0">
                  <a:pos x="127" y="277"/>
                </a:cxn>
                <a:cxn ang="0">
                  <a:pos x="104" y="282"/>
                </a:cxn>
                <a:cxn ang="0">
                  <a:pos x="61" y="293"/>
                </a:cxn>
                <a:cxn ang="0">
                  <a:pos x="7" y="299"/>
                </a:cxn>
                <a:cxn ang="0">
                  <a:pos x="0" y="299"/>
                </a:cxn>
                <a:cxn ang="0">
                  <a:pos x="0" y="334"/>
                </a:cxn>
                <a:cxn ang="0">
                  <a:pos x="16" y="334"/>
                </a:cxn>
                <a:cxn ang="0">
                  <a:pos x="56" y="329"/>
                </a:cxn>
                <a:cxn ang="0">
                  <a:pos x="113" y="318"/>
                </a:cxn>
                <a:cxn ang="0">
                  <a:pos x="183" y="294"/>
                </a:cxn>
                <a:cxn ang="0">
                  <a:pos x="221" y="278"/>
                </a:cxn>
                <a:cxn ang="0">
                  <a:pos x="281" y="246"/>
                </a:cxn>
                <a:cxn ang="0">
                  <a:pos x="322" y="218"/>
                </a:cxn>
                <a:cxn ang="0">
                  <a:pos x="343" y="202"/>
                </a:cxn>
                <a:cxn ang="0">
                  <a:pos x="394" y="156"/>
                </a:cxn>
                <a:cxn ang="0">
                  <a:pos x="428" y="121"/>
                </a:cxn>
                <a:cxn ang="0">
                  <a:pos x="460" y="80"/>
                </a:cxn>
                <a:cxn ang="0">
                  <a:pos x="485" y="92"/>
                </a:cxn>
                <a:cxn ang="0">
                  <a:pos x="488" y="96"/>
                </a:cxn>
                <a:cxn ang="0">
                  <a:pos x="498" y="102"/>
                </a:cxn>
                <a:cxn ang="0">
                  <a:pos x="504" y="101"/>
                </a:cxn>
                <a:cxn ang="0">
                  <a:pos x="513" y="95"/>
                </a:cxn>
                <a:cxn ang="0">
                  <a:pos x="513" y="83"/>
                </a:cxn>
              </a:cxnLst>
              <a:rect l="0" t="0" r="r" b="b"/>
              <a:pathLst>
                <a:path w="514" h="334">
                  <a:moveTo>
                    <a:pt x="513" y="83"/>
                  </a:moveTo>
                  <a:lnTo>
                    <a:pt x="491" y="10"/>
                  </a:lnTo>
                  <a:lnTo>
                    <a:pt x="491" y="10"/>
                  </a:lnTo>
                  <a:lnTo>
                    <a:pt x="488" y="6"/>
                  </a:lnTo>
                  <a:lnTo>
                    <a:pt x="483" y="1"/>
                  </a:lnTo>
                  <a:lnTo>
                    <a:pt x="477" y="0"/>
                  </a:lnTo>
                  <a:lnTo>
                    <a:pt x="472" y="1"/>
                  </a:lnTo>
                  <a:lnTo>
                    <a:pt x="400" y="23"/>
                  </a:lnTo>
                  <a:lnTo>
                    <a:pt x="400" y="23"/>
                  </a:lnTo>
                  <a:lnTo>
                    <a:pt x="395" y="26"/>
                  </a:lnTo>
                  <a:lnTo>
                    <a:pt x="391" y="30"/>
                  </a:lnTo>
                  <a:lnTo>
                    <a:pt x="390" y="36"/>
                  </a:lnTo>
                  <a:lnTo>
                    <a:pt x="390" y="42"/>
                  </a:lnTo>
                  <a:lnTo>
                    <a:pt x="390" y="42"/>
                  </a:lnTo>
                  <a:lnTo>
                    <a:pt x="392" y="47"/>
                  </a:lnTo>
                  <a:lnTo>
                    <a:pt x="397" y="51"/>
                  </a:lnTo>
                  <a:lnTo>
                    <a:pt x="403" y="52"/>
                  </a:lnTo>
                  <a:lnTo>
                    <a:pt x="409" y="51"/>
                  </a:lnTo>
                  <a:lnTo>
                    <a:pt x="445" y="41"/>
                  </a:lnTo>
                  <a:lnTo>
                    <a:pt x="445" y="41"/>
                  </a:lnTo>
                  <a:lnTo>
                    <a:pt x="431" y="61"/>
                  </a:lnTo>
                  <a:lnTo>
                    <a:pt x="416" y="80"/>
                  </a:lnTo>
                  <a:lnTo>
                    <a:pt x="400" y="98"/>
                  </a:lnTo>
                  <a:lnTo>
                    <a:pt x="385" y="115"/>
                  </a:lnTo>
                  <a:lnTo>
                    <a:pt x="353" y="148"/>
                  </a:lnTo>
                  <a:lnTo>
                    <a:pt x="321" y="176"/>
                  </a:lnTo>
                  <a:lnTo>
                    <a:pt x="321" y="176"/>
                  </a:lnTo>
                  <a:lnTo>
                    <a:pt x="291" y="196"/>
                  </a:lnTo>
                  <a:lnTo>
                    <a:pt x="262" y="215"/>
                  </a:lnTo>
                  <a:lnTo>
                    <a:pt x="234" y="233"/>
                  </a:lnTo>
                  <a:lnTo>
                    <a:pt x="206" y="246"/>
                  </a:lnTo>
                  <a:lnTo>
                    <a:pt x="179" y="259"/>
                  </a:lnTo>
                  <a:lnTo>
                    <a:pt x="152" y="268"/>
                  </a:lnTo>
                  <a:lnTo>
                    <a:pt x="127" y="277"/>
                  </a:lnTo>
                  <a:lnTo>
                    <a:pt x="104" y="282"/>
                  </a:lnTo>
                  <a:lnTo>
                    <a:pt x="104" y="282"/>
                  </a:lnTo>
                  <a:lnTo>
                    <a:pt x="82" y="288"/>
                  </a:lnTo>
                  <a:lnTo>
                    <a:pt x="61" y="293"/>
                  </a:lnTo>
                  <a:lnTo>
                    <a:pt x="29" y="297"/>
                  </a:lnTo>
                  <a:lnTo>
                    <a:pt x="7" y="299"/>
                  </a:lnTo>
                  <a:lnTo>
                    <a:pt x="0" y="299"/>
                  </a:lnTo>
                  <a:lnTo>
                    <a:pt x="0" y="299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16" y="334"/>
                  </a:lnTo>
                  <a:lnTo>
                    <a:pt x="34" y="332"/>
                  </a:lnTo>
                  <a:lnTo>
                    <a:pt x="56" y="329"/>
                  </a:lnTo>
                  <a:lnTo>
                    <a:pt x="82" y="323"/>
                  </a:lnTo>
                  <a:lnTo>
                    <a:pt x="113" y="318"/>
                  </a:lnTo>
                  <a:lnTo>
                    <a:pt x="146" y="307"/>
                  </a:lnTo>
                  <a:lnTo>
                    <a:pt x="183" y="294"/>
                  </a:lnTo>
                  <a:lnTo>
                    <a:pt x="183" y="294"/>
                  </a:lnTo>
                  <a:lnTo>
                    <a:pt x="221" y="278"/>
                  </a:lnTo>
                  <a:lnTo>
                    <a:pt x="261" y="258"/>
                  </a:lnTo>
                  <a:lnTo>
                    <a:pt x="281" y="246"/>
                  </a:lnTo>
                  <a:lnTo>
                    <a:pt x="302" y="233"/>
                  </a:lnTo>
                  <a:lnTo>
                    <a:pt x="322" y="218"/>
                  </a:lnTo>
                  <a:lnTo>
                    <a:pt x="343" y="202"/>
                  </a:lnTo>
                  <a:lnTo>
                    <a:pt x="343" y="202"/>
                  </a:lnTo>
                  <a:lnTo>
                    <a:pt x="376" y="173"/>
                  </a:lnTo>
                  <a:lnTo>
                    <a:pt x="394" y="156"/>
                  </a:lnTo>
                  <a:lnTo>
                    <a:pt x="411" y="139"/>
                  </a:lnTo>
                  <a:lnTo>
                    <a:pt x="428" y="121"/>
                  </a:lnTo>
                  <a:lnTo>
                    <a:pt x="444" y="101"/>
                  </a:lnTo>
                  <a:lnTo>
                    <a:pt x="460" y="80"/>
                  </a:lnTo>
                  <a:lnTo>
                    <a:pt x="474" y="58"/>
                  </a:lnTo>
                  <a:lnTo>
                    <a:pt x="485" y="92"/>
                  </a:lnTo>
                  <a:lnTo>
                    <a:pt x="485" y="92"/>
                  </a:lnTo>
                  <a:lnTo>
                    <a:pt x="488" y="96"/>
                  </a:lnTo>
                  <a:lnTo>
                    <a:pt x="492" y="101"/>
                  </a:lnTo>
                  <a:lnTo>
                    <a:pt x="498" y="102"/>
                  </a:lnTo>
                  <a:lnTo>
                    <a:pt x="504" y="101"/>
                  </a:lnTo>
                  <a:lnTo>
                    <a:pt x="504" y="101"/>
                  </a:lnTo>
                  <a:lnTo>
                    <a:pt x="508" y="99"/>
                  </a:lnTo>
                  <a:lnTo>
                    <a:pt x="513" y="95"/>
                  </a:lnTo>
                  <a:lnTo>
                    <a:pt x="514" y="89"/>
                  </a:lnTo>
                  <a:lnTo>
                    <a:pt x="513" y="83"/>
                  </a:lnTo>
                  <a:lnTo>
                    <a:pt x="513" y="8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2" name="Текст 8"/>
          <p:cNvSpPr>
            <a:spLocks noGrp="1"/>
          </p:cNvSpPr>
          <p:nvPr>
            <p:ph type="title"/>
          </p:nvPr>
        </p:nvSpPr>
        <p:spPr>
          <a:xfrm>
            <a:off x="483020" y="179340"/>
            <a:ext cx="10869564" cy="648642"/>
          </a:xfrm>
        </p:spPr>
        <p:txBody>
          <a:bodyPr/>
          <a:lstStyle/>
          <a:p>
            <a:pPr algn="ctr"/>
            <a:r>
              <a:rPr lang="ru-RU" sz="2400" cap="all" spc="100" dirty="0" smtClean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заимодействие </a:t>
            </a:r>
            <a:r>
              <a:rPr lang="ru-RU" sz="2400" cap="all" spc="100" dirty="0" err="1" smtClean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800" cap="all" spc="100" dirty="0" err="1" smtClean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2400" cap="all" spc="100" dirty="0" err="1" smtClean="0">
                <a:solidFill>
                  <a:srgbClr val="29479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2400" dirty="0"/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83432" y="136585"/>
            <a:ext cx="925830" cy="690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1622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16632"/>
            <a:ext cx="11520000" cy="785818"/>
          </a:xfrm>
        </p:spPr>
        <p:txBody>
          <a:bodyPr>
            <a:normAutofit/>
          </a:bodyPr>
          <a:lstStyle/>
          <a:p>
            <a:pPr algn="ctr"/>
            <a:r>
              <a:rPr lang="ru-RU" sz="2800" dirty="0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ЛАНА РАБОТЫ М</a:t>
            </a:r>
            <a:r>
              <a:rPr lang="ru-RU" dirty="0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2800" dirty="0" smtClean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2800" dirty="0">
              <a:solidFill>
                <a:srgbClr val="29479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55640" y="976003"/>
            <a:ext cx="5544616" cy="17735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ПЛАН (ОТЧЁТ) работы муниципального учебно-методического объединения _______________________________________ на (за) 202__ год</a:t>
            </a:r>
            <a:endParaRPr lang="ru-RU" sz="11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1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аправление деятельности на 202__ год: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endParaRPr lang="ru-RU" sz="14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endParaRPr lang="ru-RU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8008511"/>
              </p:ext>
            </p:extLst>
          </p:nvPr>
        </p:nvGraphicFramePr>
        <p:xfrm>
          <a:off x="3287688" y="2492896"/>
          <a:ext cx="4824536" cy="3672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38" name="Документ" r:id="rId4" imgW="5925852" imgH="4367635" progId="Word.Document.12">
                  <p:embed/>
                </p:oleObj>
              </mc:Choice>
              <mc:Fallback>
                <p:oleObj name="Документ" r:id="rId4" imgW="5925852" imgH="4367635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87688" y="2492896"/>
                        <a:ext cx="4824536" cy="36724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911424" y="230599"/>
            <a:ext cx="746086" cy="55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421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16632"/>
            <a:ext cx="11520000" cy="785818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ЛАНА РАБОТЫ М</a:t>
            </a:r>
            <a:r>
              <a:rPr lang="ru-RU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51228666"/>
              </p:ext>
            </p:extLst>
          </p:nvPr>
        </p:nvGraphicFramePr>
        <p:xfrm>
          <a:off x="3287688" y="1770063"/>
          <a:ext cx="4896544" cy="353114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63" name="Документ" r:id="rId4" imgW="5925852" imgH="3314398" progId="Word.Document.12">
                  <p:embed/>
                </p:oleObj>
              </mc:Choice>
              <mc:Fallback>
                <p:oleObj name="Документ" r:id="rId4" imgW="5925852" imgH="3314398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287688" y="1770063"/>
                        <a:ext cx="4896544" cy="353114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5661248"/>
            <a:ext cx="7785485" cy="60386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83432" y="138498"/>
            <a:ext cx="746086" cy="55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96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4433" y="116632"/>
            <a:ext cx="11520000" cy="785818"/>
          </a:xfrm>
        </p:spPr>
        <p:txBody>
          <a:bodyPr>
            <a:normAutofit/>
          </a:bodyPr>
          <a:lstStyle/>
          <a:p>
            <a:pPr algn="ctr"/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ЛАНА РАБОТЫ М</a:t>
            </a:r>
            <a:r>
              <a:rPr lang="ru-RU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Н</a:t>
            </a:r>
            <a:r>
              <a:rPr lang="ru-RU" sz="2800" dirty="0">
                <a:solidFill>
                  <a:srgbClr val="2947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МО</a:t>
            </a:r>
            <a:endParaRPr lang="ru-RU" sz="2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6500811"/>
              </p:ext>
            </p:extLst>
          </p:nvPr>
        </p:nvGraphicFramePr>
        <p:xfrm>
          <a:off x="2711624" y="1340769"/>
          <a:ext cx="5256584" cy="4176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7" name="Документ" r:id="rId4" imgW="5925852" imgH="3659107" progId="Word.Document.12">
                  <p:embed/>
                </p:oleObj>
              </mc:Choice>
              <mc:Fallback>
                <p:oleObj name="Документ" r:id="rId4" imgW="5925852" imgH="3659107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11624" y="1340769"/>
                        <a:ext cx="5256584" cy="41764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576" y="5661248"/>
            <a:ext cx="7785485" cy="60386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11424" y="121081"/>
            <a:ext cx="746086" cy="557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166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Ц Академия_краткий обзор_20200429</Template>
  <TotalTime>53017</TotalTime>
  <Words>491</Words>
  <Application>Microsoft Office PowerPoint</Application>
  <PresentationFormat>Широкоэкранный</PresentationFormat>
  <Paragraphs>59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23" baseType="lpstr">
      <vt:lpstr>Arial</vt:lpstr>
      <vt:lpstr>Calibri</vt:lpstr>
      <vt:lpstr>Calibri Light</vt:lpstr>
      <vt:lpstr>Open Sans</vt:lpstr>
      <vt:lpstr>Open Sans Light</vt:lpstr>
      <vt:lpstr>times new roman</vt:lpstr>
      <vt:lpstr>times new roman</vt:lpstr>
      <vt:lpstr>Tw Cen MT</vt:lpstr>
      <vt:lpstr>Wingdings</vt:lpstr>
      <vt:lpstr>Drofa</vt:lpstr>
      <vt:lpstr>Слайд think-cell</vt:lpstr>
      <vt:lpstr>Документ</vt:lpstr>
      <vt:lpstr>Презентация PowerPoint</vt:lpstr>
      <vt:lpstr>Нормативные документы</vt:lpstr>
      <vt:lpstr>Презентация PowerPoint</vt:lpstr>
      <vt:lpstr>Система методической работы в Кбр</vt:lpstr>
      <vt:lpstr>РУМО и МунУМО</vt:lpstr>
      <vt:lpstr>Взаимодействие МунУМО</vt:lpstr>
      <vt:lpstr>ФОРМИРОВАНИЕ ПЛАНА РАБОТЫ МУНУМО</vt:lpstr>
      <vt:lpstr>ФОРМИРОВАНИЕ ПЛАНА РАБОТЫ МУНУМО</vt:lpstr>
      <vt:lpstr>ФОРМИРОВАНИЕ ПЛАНА РАБОТЫ МУНУМО</vt:lpstr>
      <vt:lpstr>ФОРМИРОВАНИЕ ПЛАНА РАБОТЫ МУНУМО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ShontukovaIV</cp:lastModifiedBy>
  <cp:revision>2622</cp:revision>
  <cp:lastPrinted>2020-03-17T12:28:23Z</cp:lastPrinted>
  <dcterms:created xsi:type="dcterms:W3CDTF">2011-07-04T10:53:52Z</dcterms:created>
  <dcterms:modified xsi:type="dcterms:W3CDTF">2021-01-25T09:18:22Z</dcterms:modified>
</cp:coreProperties>
</file>